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omments/modernComment_11F_4C302182.xml" ContentType="application/vnd.ms-powerpoint.comment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omments/modernComment_124_FDE32ED8.xml" ContentType="application/vnd.ms-powerpoint.comment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omments/modernComment_7FFE58D4_EB7F8A88.xml" ContentType="application/vnd.ms-powerpoint.comment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omments/modernComment_7FFE58D8_A874F319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6"/>
  </p:sldMasterIdLst>
  <p:notesMasterIdLst>
    <p:notesMasterId r:id="rId26"/>
  </p:notesMasterIdLst>
  <p:handoutMasterIdLst>
    <p:handoutMasterId r:id="rId27"/>
  </p:handoutMasterIdLst>
  <p:sldIdLst>
    <p:sldId id="774" r:id="rId7"/>
    <p:sldId id="703" r:id="rId8"/>
    <p:sldId id="286" r:id="rId9"/>
    <p:sldId id="2147375310" r:id="rId10"/>
    <p:sldId id="287" r:id="rId11"/>
    <p:sldId id="2147375313" r:id="rId12"/>
    <p:sldId id="2147375318" r:id="rId13"/>
    <p:sldId id="288" r:id="rId14"/>
    <p:sldId id="2147375317" r:id="rId15"/>
    <p:sldId id="2147375319" r:id="rId16"/>
    <p:sldId id="292" r:id="rId17"/>
    <p:sldId id="2147375314" r:id="rId18"/>
    <p:sldId id="2147375316" r:id="rId19"/>
    <p:sldId id="2147375315" r:id="rId20"/>
    <p:sldId id="2147375322" r:id="rId21"/>
    <p:sldId id="2147375323" r:id="rId22"/>
    <p:sldId id="2147375321" r:id="rId23"/>
    <p:sldId id="2147375320" r:id="rId24"/>
    <p:sldId id="769" r:id="rId25"/>
  </p:sldIdLst>
  <p:sldSz cx="12192000" cy="6858000"/>
  <p:notesSz cx="6858000" cy="9144000"/>
  <p:custDataLst>
    <p:tags r:id="rId28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 + Titeldia" id="{4EFEB6C4-4E67-492B-83ED-09BB5F5E54D6}">
          <p14:sldIdLst>
            <p14:sldId id="774"/>
            <p14:sldId id="703"/>
            <p14:sldId id="286"/>
            <p14:sldId id="2147375310"/>
            <p14:sldId id="287"/>
            <p14:sldId id="2147375313"/>
            <p14:sldId id="2147375318"/>
            <p14:sldId id="288"/>
            <p14:sldId id="2147375317"/>
            <p14:sldId id="2147375319"/>
            <p14:sldId id="292"/>
            <p14:sldId id="2147375314"/>
            <p14:sldId id="2147375316"/>
            <p14:sldId id="2147375315"/>
            <p14:sldId id="2147375322"/>
            <p14:sldId id="2147375323"/>
            <p14:sldId id="2147375321"/>
            <p14:sldId id="2147375320"/>
            <p14:sldId id="76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F5A5444-D6AA-E99D-F451-F17EF9BF8202}" name="Moritz Müller" initials="MM" userId="S::moritz.muller@SIDN.nl::7cf10e48-60c3-4c1d-9f08-66ccf77f6c1a" providerId="AD"/>
  <p188:author id="{005E0B59-88BA-CF3A-D82C-07E022ADB765}" name="Maarten Wullink" initials="MW" userId="S::maarten.wullink@SIDN.nl::70978ce3-346a-428c-827e-ca5f49fa0e5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anette Horinga" initials="JH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8E43"/>
    <a:srgbClr val="656565"/>
    <a:srgbClr val="FE9A2F"/>
    <a:srgbClr val="626465"/>
    <a:srgbClr val="F15936"/>
    <a:srgbClr val="0062A9"/>
    <a:srgbClr val="0DB3B5"/>
    <a:srgbClr val="0864A8"/>
    <a:srgbClr val="EA4A27"/>
    <a:srgbClr val="0015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16DA210-FB5B-4158-B5E0-FEB733F419BA}" styleName="Stijl, lich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Stijl, gemiddeld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Stijl, lich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74"/>
    <p:restoredTop sz="89746"/>
  </p:normalViewPr>
  <p:slideViewPr>
    <p:cSldViewPr snapToGrid="0">
      <p:cViewPr varScale="1">
        <p:scale>
          <a:sx n="143" d="100"/>
          <a:sy n="143" d="100"/>
        </p:scale>
        <p:origin x="1072" y="2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8/10/relationships/authors" Target="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" Target="slides/slide2.xml"/></Relationships>
</file>

<file path=ppt/comments/modernComment_11F_4C30218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AB664EC-7A67-4C4B-9FC7-EC158539CD62}" authorId="{3F5A5444-D6AA-E99D-F451-F17EF9BF8202}" created="2023-08-14T13:47:10.618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278222722" sldId="287"/>
      <ac:spMk id="3" creationId="{8D7D2A78-5B3B-544F-AF83-FB1C11A9D303}"/>
      <ac:txMk cp="69" len="4">
        <ac:context len="402" hash="3148112021"/>
      </ac:txMk>
    </ac:txMkLst>
    <p188:pos x="8360982" y="516680"/>
    <p188:txBody>
      <a:bodyPr/>
      <a:lstStyle/>
      <a:p>
        <a:r>
          <a:rPr lang="en-US"/>
          <a:t>And notifiying registrants</a:t>
        </a:r>
      </a:p>
    </p188:txBody>
  </p188:cm>
</p188:cmLst>
</file>

<file path=ppt/comments/modernComment_124_FDE32ED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272CE3A-19BF-0149-B10F-1685DF461C00}" authorId="{005E0B59-88BA-CF3A-D82C-07E022ADB765}" created="2023-08-08T12:38:47.517">
    <pc:sldMkLst xmlns:pc="http://schemas.microsoft.com/office/powerpoint/2013/main/command">
      <pc:docMk/>
      <pc:sldMk cId="4259524312" sldId="292"/>
    </pc:sldMkLst>
    <p188:txBody>
      <a:bodyPr/>
      <a:lstStyle/>
      <a:p>
        <a:r>
          <a:rPr lang="nl-NL"/>
          <a:t>Screenshot toevoegen</a:t>
        </a:r>
      </a:p>
    </p188:txBody>
  </p188:cm>
</p188:cmLst>
</file>

<file path=ppt/comments/modernComment_7FFE58D4_EB7F8A8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DE7BEA8-D139-1C4C-A662-2F1701783A19}" authorId="{3F5A5444-D6AA-E99D-F451-F17EF9BF8202}" created="2023-08-14T13:56:00.90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951004296" sldId="2147375316"/>
      <ac:spMk id="2" creationId="{A6ACC5F0-CF83-A352-E081-48236E5DC03B}"/>
      <ac:txMk cp="4">
        <ac:context len="17" hash="693323713"/>
      </ac:txMk>
    </ac:txMkLst>
    <p188:pos x="2816708" y="420828"/>
    <p188:txBody>
      <a:bodyPr/>
      <a:lstStyle/>
      <a:p>
        <a:r>
          <a:rPr lang="en-US"/>
          <a:t>Is “effective” het goede woord? Misschien “most used filters”?</a:t>
        </a:r>
      </a:p>
    </p188:txBody>
  </p188:cm>
</p188:cmLst>
</file>

<file path=ppt/comments/modernComment_7FFE58D8_A874F31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FC34971-716A-7047-91FC-874F47089F39}" authorId="{3F5A5444-D6AA-E99D-F451-F17EF9BF8202}" created="2023-08-14T14:02:09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826236697" sldId="2147375320"/>
      <ac:spMk id="2" creationId="{88687E08-0210-95C4-8455-79114B7D853F}"/>
      <ac:txMk cp="0" len="10">
        <ac:context len="11" hash="2778721770"/>
      </ac:txMk>
    </ac:txMkLst>
    <p188:pos x="2527341" y="420828"/>
    <p188:txBody>
      <a:bodyPr/>
      <a:lstStyle/>
      <a:p>
        <a:r>
          <a:rPr lang="en-US"/>
          <a:t>Even one prevented leak is a success</a:t>
        </a:r>
      </a:p>
    </p188:txBody>
  </p188:cm>
  <p188:cm id="{9EA159F7-6A3D-F049-A5F2-84D087FB9B99}" authorId="{3F5A5444-D6AA-E99D-F451-F17EF9BF8202}" created="2023-08-14T14:02:36.21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826236697" sldId="2147375320"/>
      <ac:spMk id="2" creationId="{88687E08-0210-95C4-8455-79114B7D853F}"/>
      <ac:txMk cp="0" len="10">
        <ac:context len="11" hash="2778721770"/>
      </ac:txMk>
    </ac:txMkLst>
    <p188:pos x="2527341" y="420828"/>
    <p188:txBody>
      <a:bodyPr/>
      <a:lstStyle/>
      <a:p>
        <a:r>
          <a:rPr lang="en-US"/>
          <a:t>Overhead for registrars and registry seems to be acceptable</a:t>
        </a:r>
      </a:p>
    </p188:txBody>
  </p188:cm>
</p188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4232DE-8C5F-4178-AA73-5BBFA247078F}" type="datetimeFigureOut">
              <a:rPr lang="nl-NL" smtClean="0"/>
              <a:t>05-09-2023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10F3A7-C9E4-4071-B2F5-015428B6B449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476737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62EBAE-29D1-4DD0-8BEB-0AC11FD72FA6}" type="datetimeFigureOut">
              <a:rPr lang="en-GB" smtClean="0"/>
              <a:t>05/09/2023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5642C7-031D-4E40-B5EB-9465C999AF8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0158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06788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76972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200" dirty="0" err="1"/>
              <a:t>Directly</a:t>
            </a:r>
            <a:r>
              <a:rPr lang="nl-NL" sz="1200" dirty="0"/>
              <a:t> </a:t>
            </a:r>
            <a:r>
              <a:rPr lang="nl-NL" sz="1200" dirty="0" err="1"/>
              <a:t>to</a:t>
            </a:r>
            <a:r>
              <a:rPr lang="nl-NL" sz="1200" dirty="0"/>
              <a:t> </a:t>
            </a:r>
            <a:r>
              <a:rPr lang="nl-NL" sz="1200" dirty="0" err="1"/>
              <a:t>the</a:t>
            </a:r>
            <a:r>
              <a:rPr lang="nl-NL" sz="1200" dirty="0"/>
              <a:t> registrant : Voordeel hier is dat we dan niet </a:t>
            </a:r>
            <a:r>
              <a:rPr lang="nl-NL" sz="1200" dirty="0" err="1"/>
              <a:t>afhannkelijk</a:t>
            </a:r>
            <a:r>
              <a:rPr lang="nl-NL" sz="1200" dirty="0"/>
              <a:t> zijn van registrars die niet mee </a:t>
            </a:r>
            <a:r>
              <a:rPr lang="nl-NL" sz="1200" dirty="0" err="1"/>
              <a:t>willenn</a:t>
            </a:r>
            <a:r>
              <a:rPr lang="nl-NL" sz="1200" dirty="0"/>
              <a:t> doen en daardoor groot deel v/d zone missen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22192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60492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61840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54214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/>
              <a:t>Het voorkomen van 1 data lek zou al de </a:t>
            </a:r>
            <a:r>
              <a:rPr lang="nl-NL" err="1"/>
              <a:t>moeiet</a:t>
            </a:r>
            <a:r>
              <a:rPr lang="nl-NL"/>
              <a:t> waard </a:t>
            </a:r>
            <a:r>
              <a:rPr lang="nl-NL" err="1"/>
              <a:t>lkunne</a:t>
            </a:r>
            <a:r>
              <a:rPr lang="nl-NL"/>
              <a:t> zijn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15907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dirty="0">
                <a:solidFill>
                  <a:srgbClr val="656565"/>
                </a:solidFill>
              </a:rPr>
              <a:t>Re-</a:t>
            </a:r>
            <a:r>
              <a:rPr lang="nl-NL" sz="1200" dirty="0" err="1">
                <a:solidFill>
                  <a:srgbClr val="656565"/>
                </a:solidFill>
              </a:rPr>
              <a:t>registration</a:t>
            </a:r>
            <a:r>
              <a:rPr lang="nl-NL" sz="1200" dirty="0">
                <a:solidFill>
                  <a:srgbClr val="656565"/>
                </a:solidFill>
              </a:rPr>
              <a:t> of a </a:t>
            </a:r>
            <a:r>
              <a:rPr lang="nl-NL" sz="1200" dirty="0" err="1">
                <a:solidFill>
                  <a:srgbClr val="656565"/>
                </a:solidFill>
              </a:rPr>
              <a:t>deleted</a:t>
            </a:r>
            <a:r>
              <a:rPr lang="nl-NL" sz="1200" dirty="0">
                <a:solidFill>
                  <a:srgbClr val="656565"/>
                </a:solidFill>
              </a:rPr>
              <a:t> domain </a:t>
            </a:r>
            <a:r>
              <a:rPr lang="nl-NL" sz="1200" dirty="0" err="1">
                <a:solidFill>
                  <a:srgbClr val="656565"/>
                </a:solidFill>
              </a:rPr>
              <a:t>may</a:t>
            </a:r>
            <a:r>
              <a:rPr lang="nl-NL" sz="1200" dirty="0">
                <a:solidFill>
                  <a:srgbClr val="656565"/>
                </a:solidFill>
              </a:rPr>
              <a:t> </a:t>
            </a:r>
            <a:r>
              <a:rPr lang="nl-NL" sz="1200" dirty="0" err="1">
                <a:solidFill>
                  <a:srgbClr val="656565"/>
                </a:solidFill>
              </a:rPr>
              <a:t>leak</a:t>
            </a:r>
            <a:r>
              <a:rPr lang="nl-NL" sz="1200" dirty="0">
                <a:solidFill>
                  <a:srgbClr val="656565"/>
                </a:solidFill>
              </a:rPr>
              <a:t> mail </a:t>
            </a:r>
            <a:r>
              <a:rPr lang="nl-NL" sz="1200" dirty="0" err="1">
                <a:solidFill>
                  <a:srgbClr val="656565"/>
                </a:solidFill>
              </a:rPr>
              <a:t>intented</a:t>
            </a:r>
            <a:r>
              <a:rPr lang="nl-NL" sz="1200" dirty="0">
                <a:solidFill>
                  <a:srgbClr val="656565"/>
                </a:solidFill>
              </a:rPr>
              <a:t> </a:t>
            </a:r>
            <a:r>
              <a:rPr lang="nl-NL" sz="1200" dirty="0" err="1">
                <a:solidFill>
                  <a:srgbClr val="656565"/>
                </a:solidFill>
              </a:rPr>
              <a:t>for</a:t>
            </a:r>
            <a:r>
              <a:rPr lang="nl-NL" sz="1200" dirty="0">
                <a:solidFill>
                  <a:srgbClr val="656565"/>
                </a:solidFill>
              </a:rPr>
              <a:t> </a:t>
            </a:r>
            <a:r>
              <a:rPr lang="nl-NL" sz="1200" dirty="0" err="1">
                <a:solidFill>
                  <a:srgbClr val="656565"/>
                </a:solidFill>
              </a:rPr>
              <a:t>the</a:t>
            </a:r>
            <a:r>
              <a:rPr lang="nl-NL" sz="1200" dirty="0">
                <a:solidFill>
                  <a:srgbClr val="656565"/>
                </a:solidFill>
              </a:rPr>
              <a:t> </a:t>
            </a:r>
            <a:r>
              <a:rPr lang="nl-NL" sz="1200" dirty="0" err="1">
                <a:solidFill>
                  <a:srgbClr val="656565"/>
                </a:solidFill>
              </a:rPr>
              <a:t>previous</a:t>
            </a:r>
            <a:r>
              <a:rPr lang="nl-NL" sz="1200" dirty="0">
                <a:solidFill>
                  <a:srgbClr val="656565"/>
                </a:solidFill>
              </a:rPr>
              <a:t> </a:t>
            </a:r>
            <a:r>
              <a:rPr lang="nl-NL" sz="1200" dirty="0" err="1">
                <a:solidFill>
                  <a:srgbClr val="656565"/>
                </a:solidFill>
              </a:rPr>
              <a:t>owner</a:t>
            </a:r>
            <a:endParaRPr lang="nl-NL" sz="1200" dirty="0">
              <a:solidFill>
                <a:srgbClr val="656565"/>
              </a:solidFill>
            </a:endParaRPr>
          </a:p>
          <a:p>
            <a:r>
              <a:rPr lang="nl-NL" sz="1200" dirty="0">
                <a:solidFill>
                  <a:srgbClr val="656565"/>
                </a:solidFill>
              </a:rPr>
              <a:t>A single </a:t>
            </a:r>
            <a:r>
              <a:rPr lang="nl-NL" sz="1200" dirty="0" err="1">
                <a:solidFill>
                  <a:srgbClr val="656565"/>
                </a:solidFill>
              </a:rPr>
              <a:t>leaky</a:t>
            </a:r>
            <a:r>
              <a:rPr lang="nl-NL" sz="1200" dirty="0">
                <a:solidFill>
                  <a:srgbClr val="656565"/>
                </a:solidFill>
              </a:rPr>
              <a:t> domain </a:t>
            </a:r>
            <a:r>
              <a:rPr lang="nl-NL" sz="1200" dirty="0" err="1">
                <a:solidFill>
                  <a:srgbClr val="656565"/>
                </a:solidFill>
              </a:rPr>
              <a:t>may</a:t>
            </a:r>
            <a:r>
              <a:rPr lang="nl-NL" sz="1200" dirty="0">
                <a:solidFill>
                  <a:srgbClr val="656565"/>
                </a:solidFill>
              </a:rPr>
              <a:t> have a high impact</a:t>
            </a:r>
            <a:r>
              <a:rPr lang="nl-NL" sz="1200" dirty="0"/>
              <a:t>.</a:t>
            </a:r>
          </a:p>
          <a:p>
            <a:endParaRPr lang="nl-NL" noProof="0" dirty="0"/>
          </a:p>
          <a:p>
            <a:r>
              <a:rPr lang="nl-NL" noProof="0" dirty="0"/>
              <a:t>Single domain </a:t>
            </a:r>
            <a:r>
              <a:rPr lang="nl-NL" noProof="0" dirty="0" err="1"/>
              <a:t>with</a:t>
            </a:r>
            <a:r>
              <a:rPr lang="nl-NL" noProof="0" dirty="0"/>
              <a:t> </a:t>
            </a:r>
            <a:r>
              <a:rPr lang="nl-NL" noProof="0" dirty="0" err="1"/>
              <a:t>leak</a:t>
            </a:r>
            <a:r>
              <a:rPr lang="nl-NL" noProof="0" dirty="0"/>
              <a:t> </a:t>
            </a:r>
            <a:r>
              <a:rPr lang="nl-NL" noProof="0" dirty="0" err="1"/>
              <a:t>my</a:t>
            </a:r>
            <a:r>
              <a:rPr lang="nl-NL" noProof="0" dirty="0"/>
              <a:t> have high impact </a:t>
            </a:r>
            <a:r>
              <a:rPr lang="nl-NL" noProof="0" dirty="0" err="1"/>
              <a:t>such</a:t>
            </a:r>
            <a:r>
              <a:rPr lang="nl-NL" noProof="0" dirty="0"/>
              <a:t> as </a:t>
            </a:r>
            <a:r>
              <a:rPr lang="nl-NL" noProof="0" dirty="0" err="1"/>
              <a:t>examples</a:t>
            </a:r>
            <a:r>
              <a:rPr lang="nl-NL" noProof="0" dirty="0"/>
              <a:t> </a:t>
            </a:r>
            <a:r>
              <a:rPr lang="nl-NL" noProof="0" dirty="0" err="1"/>
              <a:t>we’ve</a:t>
            </a:r>
            <a:r>
              <a:rPr lang="nl-NL" noProof="0" dirty="0"/>
              <a:t> </a:t>
            </a:r>
            <a:r>
              <a:rPr lang="nl-NL" noProof="0" dirty="0" err="1"/>
              <a:t>seen</a:t>
            </a:r>
            <a:r>
              <a:rPr lang="nl-NL" noProof="0" dirty="0"/>
              <a:t> in .nl </a:t>
            </a:r>
            <a:r>
              <a:rPr lang="nl-NL" noProof="0" dirty="0" err="1"/>
              <a:t>for</a:t>
            </a:r>
            <a:r>
              <a:rPr lang="nl-NL" noProof="0" dirty="0"/>
              <a:t> </a:t>
            </a:r>
            <a:r>
              <a:rPr lang="nl-NL" noProof="0" dirty="0" err="1"/>
              <a:t>healthcare</a:t>
            </a:r>
            <a:r>
              <a:rPr lang="nl-NL" noProof="0" dirty="0"/>
              <a:t> provider </a:t>
            </a:r>
            <a:r>
              <a:rPr lang="nl-NL" noProof="0" dirty="0" err="1"/>
              <a:t>and</a:t>
            </a:r>
            <a:r>
              <a:rPr lang="nl-NL" noProof="0" dirty="0"/>
              <a:t> </a:t>
            </a:r>
            <a:r>
              <a:rPr lang="nl-NL" noProof="0" dirty="0" err="1"/>
              <a:t>the</a:t>
            </a:r>
            <a:r>
              <a:rPr lang="nl-NL" noProof="0" dirty="0"/>
              <a:t> Dutch </a:t>
            </a:r>
            <a:r>
              <a:rPr lang="nl-NL" noProof="0" dirty="0" err="1"/>
              <a:t>police</a:t>
            </a:r>
            <a:r>
              <a:rPr lang="nl-NL" noProof="0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3123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o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send</a:t>
            </a:r>
            <a:r>
              <a:rPr lang="nl-NL" dirty="0"/>
              <a:t> </a:t>
            </a:r>
            <a:r>
              <a:rPr lang="nl-NL" dirty="0" err="1"/>
              <a:t>all</a:t>
            </a:r>
            <a:r>
              <a:rPr lang="nl-NL" dirty="0"/>
              <a:t> </a:t>
            </a:r>
            <a:r>
              <a:rPr lang="nl-NL" dirty="0" err="1"/>
              <a:t>registrants</a:t>
            </a:r>
            <a:r>
              <a:rPr lang="nl-NL" dirty="0"/>
              <a:t>,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might</a:t>
            </a:r>
            <a:r>
              <a:rPr lang="nl-NL" dirty="0"/>
              <a:t> </a:t>
            </a:r>
            <a:r>
              <a:rPr lang="nl-NL" dirty="0" err="1"/>
              <a:t>cause</a:t>
            </a:r>
            <a:r>
              <a:rPr lang="nl-NL" dirty="0"/>
              <a:t> </a:t>
            </a:r>
            <a:r>
              <a:rPr lang="nl-NL" dirty="0" err="1"/>
              <a:t>complaints</a:t>
            </a:r>
            <a:endParaRPr lang="nl-NL" dirty="0"/>
          </a:p>
          <a:p>
            <a:r>
              <a:rPr lang="nl-NL" dirty="0" err="1"/>
              <a:t>Assumption</a:t>
            </a:r>
            <a:r>
              <a:rPr lang="nl-NL" dirty="0"/>
              <a:t> is </a:t>
            </a:r>
            <a:r>
              <a:rPr lang="nl-NL" dirty="0" err="1"/>
              <a:t>that</a:t>
            </a:r>
            <a:r>
              <a:rPr lang="nl-NL" dirty="0"/>
              <a:t> MX query shows </a:t>
            </a:r>
            <a:r>
              <a:rPr lang="nl-NL" dirty="0" err="1"/>
              <a:t>intent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end</a:t>
            </a:r>
            <a:r>
              <a:rPr lang="nl-NL" dirty="0"/>
              <a:t> mail, </a:t>
            </a:r>
            <a:r>
              <a:rPr lang="nl-NL" dirty="0" err="1"/>
              <a:t>try</a:t>
            </a:r>
            <a:r>
              <a:rPr lang="nl-NL" dirty="0"/>
              <a:t> filter out </a:t>
            </a:r>
            <a:r>
              <a:rPr lang="nl-NL" dirty="0" err="1"/>
              <a:t>researchers</a:t>
            </a:r>
            <a:r>
              <a:rPr lang="nl-NL" dirty="0"/>
              <a:t> </a:t>
            </a:r>
            <a:r>
              <a:rPr lang="nl-NL" dirty="0" err="1"/>
              <a:t>scannning</a:t>
            </a:r>
            <a:r>
              <a:rPr lang="nl-NL" dirty="0"/>
              <a:t>/</a:t>
            </a:r>
            <a:r>
              <a:rPr lang="nl-NL" dirty="0" err="1"/>
              <a:t>measureing</a:t>
            </a:r>
            <a:r>
              <a:rPr lang="nl-NL" dirty="0"/>
              <a:t> internet</a:t>
            </a:r>
          </a:p>
          <a:p>
            <a:r>
              <a:rPr lang="nl-NL" dirty="0"/>
              <a:t>In quarantaineperiode dit al vaststellen omdat na quarantaine het te laat </a:t>
            </a:r>
            <a:r>
              <a:rPr lang="nl-NL" dirty="0" err="1"/>
              <a:t>ism</a:t>
            </a:r>
            <a:r>
              <a:rPr lang="nl-NL" dirty="0"/>
              <a:t>, dan is de domeinnaam beschikbaar voor iedereen en misschien al opgepikt door een </a:t>
            </a:r>
            <a:r>
              <a:rPr lang="nl-NL" dirty="0" err="1"/>
              <a:t>domainer</a:t>
            </a:r>
            <a:r>
              <a:rPr lang="nl-NL" dirty="0"/>
              <a:t>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98078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noProof="0" err="1"/>
              <a:t>While</a:t>
            </a:r>
            <a:r>
              <a:rPr lang="nl-NL" noProof="0"/>
              <a:t> in </a:t>
            </a:r>
            <a:r>
              <a:rPr lang="nl-NL" noProof="0" err="1"/>
              <a:t>quarantine</a:t>
            </a:r>
            <a:r>
              <a:rPr lang="nl-NL" noProof="0"/>
              <a:t> mail </a:t>
            </a:r>
            <a:r>
              <a:rPr lang="nl-NL" noProof="0" err="1"/>
              <a:t>bounce</a:t>
            </a:r>
            <a:r>
              <a:rPr lang="nl-NL" noProof="0"/>
              <a:t> back </a:t>
            </a:r>
            <a:r>
              <a:rPr lang="nl-NL" noProof="0" err="1"/>
              <a:t>to</a:t>
            </a:r>
            <a:r>
              <a:rPr lang="nl-NL" noProof="0"/>
              <a:t> </a:t>
            </a:r>
            <a:r>
              <a:rPr lang="nl-NL" noProof="0" err="1"/>
              <a:t>sender</a:t>
            </a:r>
            <a:r>
              <a:rPr lang="nl-NL" noProof="0"/>
              <a:t>, </a:t>
            </a:r>
            <a:r>
              <a:rPr lang="nl-NL" noProof="0" err="1"/>
              <a:t>previous</a:t>
            </a:r>
            <a:r>
              <a:rPr lang="nl-NL" noProof="0"/>
              <a:t> domain </a:t>
            </a:r>
            <a:r>
              <a:rPr lang="nl-NL" noProof="0" err="1"/>
              <a:t>owner</a:t>
            </a:r>
            <a:r>
              <a:rPr lang="nl-NL" noProof="0"/>
              <a:t> does </a:t>
            </a:r>
            <a:r>
              <a:rPr lang="nl-NL" noProof="0" err="1"/>
              <a:t>not</a:t>
            </a:r>
            <a:r>
              <a:rPr lang="nl-NL" noProof="0"/>
              <a:t> </a:t>
            </a:r>
            <a:r>
              <a:rPr lang="nl-NL" noProof="0" err="1"/>
              <a:t>see</a:t>
            </a:r>
            <a:r>
              <a:rPr lang="nl-NL" noProof="0"/>
              <a:t> </a:t>
            </a:r>
            <a:r>
              <a:rPr lang="nl-NL" noProof="0" err="1"/>
              <a:t>someone</a:t>
            </a:r>
            <a:r>
              <a:rPr lang="nl-NL" noProof="0"/>
              <a:t> </a:t>
            </a:r>
            <a:r>
              <a:rPr lang="nl-NL" noProof="0" err="1"/>
              <a:t>tried</a:t>
            </a:r>
            <a:r>
              <a:rPr lang="nl-NL" noProof="0"/>
              <a:t> </a:t>
            </a:r>
            <a:r>
              <a:rPr lang="nl-NL" noProof="0" err="1"/>
              <a:t>to</a:t>
            </a:r>
            <a:r>
              <a:rPr lang="nl-NL" noProof="0"/>
              <a:t> </a:t>
            </a:r>
            <a:r>
              <a:rPr lang="nl-NL" noProof="0" err="1"/>
              <a:t>send</a:t>
            </a:r>
            <a:r>
              <a:rPr lang="nl-NL" noProof="0"/>
              <a:t> emai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4283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- </a:t>
            </a:r>
            <a:r>
              <a:rPr lang="nl-NL" dirty="0" err="1"/>
              <a:t>Only</a:t>
            </a:r>
            <a:r>
              <a:rPr lang="nl-NL" dirty="0"/>
              <a:t> </a:t>
            </a:r>
            <a:r>
              <a:rPr lang="nl-NL" dirty="0" err="1"/>
              <a:t>see</a:t>
            </a:r>
            <a:r>
              <a:rPr lang="nl-NL" dirty="0"/>
              <a:t> dns mx </a:t>
            </a:r>
            <a:r>
              <a:rPr lang="nl-NL" dirty="0" err="1"/>
              <a:t>queries</a:t>
            </a:r>
            <a:r>
              <a:rPr lang="nl-NL" dirty="0"/>
              <a:t> NOT </a:t>
            </a:r>
            <a:r>
              <a:rPr lang="nl-NL" dirty="0" err="1"/>
              <a:t>actial</a:t>
            </a:r>
            <a:r>
              <a:rPr lang="nl-NL" dirty="0"/>
              <a:t> mail transactions </a:t>
            </a:r>
            <a:r>
              <a:rPr lang="nl-NL" dirty="0" err="1"/>
              <a:t>and</a:t>
            </a:r>
            <a:r>
              <a:rPr lang="nl-NL" dirty="0"/>
              <a:t> content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05151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16102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309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73430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67678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8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bl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/>
          </a:p>
        </p:txBody>
      </p:sp>
      <p:sp>
        <p:nvSpPr>
          <p:cNvPr id="8" name="Tekstvak 7"/>
          <p:cNvSpPr txBox="1"/>
          <p:nvPr userDrawn="1"/>
        </p:nvSpPr>
        <p:spPr>
          <a:xfrm>
            <a:off x="9296400" y="-520700"/>
            <a:ext cx="2895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NL">
                <a:solidFill>
                  <a:srgbClr val="656565"/>
                </a:solidFill>
              </a:rPr>
              <a:t>Voorblad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© Copyright SIDN | 2016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899" y="1630344"/>
            <a:ext cx="4274557" cy="3191228"/>
          </a:xfrm>
          <a:prstGeom prst="rect">
            <a:avLst/>
          </a:prstGeom>
        </p:spPr>
      </p:pic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76667" y="2781578"/>
            <a:ext cx="6878642" cy="799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595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+ Tekst (75%/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8763000" y="1092201"/>
            <a:ext cx="2970074" cy="4680000"/>
          </a:xfrm>
        </p:spPr>
        <p:txBody>
          <a:bodyPr vert="horz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458926" y="1092201"/>
            <a:ext cx="7921949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/>
              <a:t>Afbeelding + </a:t>
            </a:r>
            <a:r>
              <a:rPr lang="nl-NL"/>
              <a:t>Tekst</a:t>
            </a:r>
            <a:r>
              <a:rPr lang="nl-NL" baseline="0"/>
              <a:t> (75%/25%)</a:t>
            </a:r>
            <a:endParaRPr lang="nl-NL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91712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458926" y="1092201"/>
            <a:ext cx="11274148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/>
              <a:t>Afbeelding (100%)</a:t>
            </a:r>
            <a:endParaRPr lang="nl-NL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22825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/>
              <a:t>Media (100%)</a:t>
            </a:r>
            <a:endParaRPr lang="nl-NL"/>
          </a:p>
        </p:txBody>
      </p:sp>
      <p:sp>
        <p:nvSpPr>
          <p:cNvPr id="85" name="Tijdelijke aanduiding voor media 12"/>
          <p:cNvSpPr>
            <a:spLocks noGrp="1"/>
          </p:cNvSpPr>
          <p:nvPr>
            <p:ph type="media" sz="quarter" idx="14"/>
          </p:nvPr>
        </p:nvSpPr>
        <p:spPr>
          <a:xfrm>
            <a:off x="458926" y="1092201"/>
            <a:ext cx="11275200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US"/>
              <a:t>Click icon to add media</a:t>
            </a:r>
            <a:endParaRPr lang="nl-NL"/>
          </a:p>
        </p:txBody>
      </p:sp>
      <p:grpSp>
        <p:nvGrpSpPr>
          <p:cNvPr id="86" name="Groep 85"/>
          <p:cNvGrpSpPr/>
          <p:nvPr userDrawn="1"/>
        </p:nvGrpSpPr>
        <p:grpSpPr>
          <a:xfrm>
            <a:off x="12727582" y="19956"/>
            <a:ext cx="2818959" cy="6868888"/>
            <a:chOff x="12727582" y="19956"/>
            <a:chExt cx="2818959" cy="6868888"/>
          </a:xfrm>
        </p:grpSpPr>
        <p:grpSp>
          <p:nvGrpSpPr>
            <p:cNvPr id="87" name="Groep 86"/>
            <p:cNvGrpSpPr/>
            <p:nvPr userDrawn="1"/>
          </p:nvGrpSpPr>
          <p:grpSpPr>
            <a:xfrm>
              <a:off x="12841995" y="19956"/>
              <a:ext cx="2704546" cy="6868888"/>
              <a:chOff x="12841995" y="19956"/>
              <a:chExt cx="2704546" cy="6868888"/>
            </a:xfrm>
          </p:grpSpPr>
          <p:sp>
            <p:nvSpPr>
              <p:cNvPr id="96" name="Rechthoek 95"/>
              <p:cNvSpPr/>
              <p:nvPr/>
            </p:nvSpPr>
            <p:spPr>
              <a:xfrm>
                <a:off x="12854728" y="19956"/>
                <a:ext cx="2677678" cy="288015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80000"/>
                  </a:lnSpc>
                </a:pPr>
                <a:r>
                  <a:rPr lang="nl-NL" sz="1600" b="1" kern="0">
                    <a:solidFill>
                      <a:srgbClr val="3560AB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VIDEO INVOEGEN</a:t>
                </a:r>
              </a:p>
            </p:txBody>
          </p:sp>
          <p:sp>
            <p:nvSpPr>
              <p:cNvPr id="97" name="Tekstvak 33"/>
              <p:cNvSpPr txBox="1"/>
              <p:nvPr/>
            </p:nvSpPr>
            <p:spPr>
              <a:xfrm>
                <a:off x="12854728" y="890735"/>
                <a:ext cx="2584447" cy="73069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Indien nodig, verwijder de bestaande video. Klik op het pictogram om een video in te voegen</a:t>
                </a:r>
                <a:br>
                  <a:rPr lang="nl-NL" sz="1200" kern="0">
                    <a:latin typeface="Segoe UI Light" panose="020B0502040204020203" pitchFamily="34" charset="0"/>
                    <a:cs typeface="Segoe UI Light" panose="020B0502040204020203" pitchFamily="34" charset="0"/>
                  </a:rPr>
                </a:br>
                <a:r>
                  <a:rPr lang="nl-NL" sz="1200" ker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(zie onderstaand voorbeeld).</a:t>
                </a:r>
              </a:p>
            </p:txBody>
          </p:sp>
          <p:sp>
            <p:nvSpPr>
              <p:cNvPr id="98" name="Tekstvak 33"/>
              <p:cNvSpPr txBox="1"/>
              <p:nvPr/>
            </p:nvSpPr>
            <p:spPr>
              <a:xfrm>
                <a:off x="12850334" y="2994504"/>
                <a:ext cx="2592287" cy="44485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lecteer de video die u wilt invoegen en klik op </a:t>
                </a:r>
                <a:r>
                  <a:rPr lang="nl-NL" sz="1200" b="1" ker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‘Invoegen’</a:t>
                </a:r>
              </a:p>
            </p:txBody>
          </p:sp>
          <p:sp>
            <p:nvSpPr>
              <p:cNvPr id="99" name="Ovaal 98"/>
              <p:cNvSpPr/>
              <p:nvPr/>
            </p:nvSpPr>
            <p:spPr>
              <a:xfrm>
                <a:off x="12854728" y="461734"/>
                <a:ext cx="359927" cy="359927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1</a:t>
                </a:r>
              </a:p>
            </p:txBody>
          </p:sp>
          <p:sp>
            <p:nvSpPr>
              <p:cNvPr id="100" name="Ovaal 99"/>
              <p:cNvSpPr/>
              <p:nvPr/>
            </p:nvSpPr>
            <p:spPr>
              <a:xfrm>
                <a:off x="12859803" y="2568608"/>
                <a:ext cx="359927" cy="359927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2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2858801" y="308420"/>
                <a:ext cx="267593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102" name="Rechte verbindingslijn 101"/>
              <p:cNvCxnSpPr/>
              <p:nvPr/>
            </p:nvCxnSpPr>
            <p:spPr>
              <a:xfrm>
                <a:off x="12850334" y="2418651"/>
                <a:ext cx="2684402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103" name="Rechte verbindingslijn 102"/>
              <p:cNvCxnSpPr/>
              <p:nvPr/>
            </p:nvCxnSpPr>
            <p:spPr>
              <a:xfrm>
                <a:off x="12841995" y="3994288"/>
                <a:ext cx="2692741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104" name="Tekstvak 33"/>
              <p:cNvSpPr txBox="1"/>
              <p:nvPr/>
            </p:nvSpPr>
            <p:spPr>
              <a:xfrm>
                <a:off x="12850334" y="4574793"/>
                <a:ext cx="2588841" cy="107187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Als u de video wilt schalen of verslepen, ga naar </a:t>
                </a:r>
                <a:r>
                  <a:rPr lang="nl-NL" sz="1200" b="1" ker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‘Hulpmiddelen voor video’ </a:t>
                </a:r>
                <a:r>
                  <a:rPr lang="nl-NL" sz="1200" ker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en klik op </a:t>
                </a:r>
                <a:r>
                  <a:rPr lang="nl-NL" sz="1200" b="1" ker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‘Bijsnijden’.</a:t>
                </a:r>
              </a:p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Met de witte bolletjes schaalt u de video, met de zwarte haakjes schaalt u het videokader.</a:t>
                </a:r>
              </a:p>
            </p:txBody>
          </p:sp>
          <p:sp>
            <p:nvSpPr>
              <p:cNvPr id="105" name="Ovaal 104"/>
              <p:cNvSpPr/>
              <p:nvPr/>
            </p:nvSpPr>
            <p:spPr>
              <a:xfrm>
                <a:off x="12859802" y="4144703"/>
                <a:ext cx="359927" cy="359927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3</a:t>
                </a:r>
              </a:p>
            </p:txBody>
          </p:sp>
          <p:cxnSp>
            <p:nvCxnSpPr>
              <p:cNvPr id="106" name="Rechte verbindingslijn 105"/>
              <p:cNvCxnSpPr/>
              <p:nvPr/>
            </p:nvCxnSpPr>
            <p:spPr>
              <a:xfrm>
                <a:off x="12841995" y="6888844"/>
                <a:ext cx="2704546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107" name="Groep 106"/>
              <p:cNvGrpSpPr/>
              <p:nvPr/>
            </p:nvGrpSpPr>
            <p:grpSpPr>
              <a:xfrm>
                <a:off x="12854728" y="3520580"/>
                <a:ext cx="1114138" cy="297656"/>
                <a:chOff x="13560784" y="3471416"/>
                <a:chExt cx="1114138" cy="297656"/>
              </a:xfrm>
            </p:grpSpPr>
            <p:sp>
              <p:nvSpPr>
                <p:cNvPr id="120" name="Afgeronde rechthoek 119"/>
                <p:cNvSpPr/>
                <p:nvPr/>
              </p:nvSpPr>
              <p:spPr>
                <a:xfrm>
                  <a:off x="13560784" y="3471416"/>
                  <a:ext cx="1114138" cy="297656"/>
                </a:xfrm>
                <a:prstGeom prst="roundRect">
                  <a:avLst/>
                </a:prstGeom>
                <a:gradFill flip="none" rotWithShape="1">
                  <a:gsLst>
                    <a:gs pos="4000">
                      <a:srgbClr val="00B0F0"/>
                    </a:gs>
                    <a:gs pos="0">
                      <a:srgbClr val="0070C0"/>
                    </a:gs>
                    <a:gs pos="100000">
                      <a:srgbClr val="0070C0"/>
                    </a:gs>
                    <a:gs pos="12000">
                      <a:srgbClr val="D1EAFF"/>
                    </a:gs>
                    <a:gs pos="96000">
                      <a:srgbClr val="00B0F0"/>
                    </a:gs>
                    <a:gs pos="89000">
                      <a:srgbClr val="DDF4FF"/>
                    </a:gs>
                    <a:gs pos="43000">
                      <a:srgbClr val="D1EAFF"/>
                    </a:gs>
                    <a:gs pos="51000">
                      <a:srgbClr val="DDF4FF"/>
                    </a:gs>
                  </a:gsLst>
                  <a:lin ang="16200000" scaled="1"/>
                  <a:tileRect/>
                </a:gradFill>
                <a:ln w="63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/>
                </a:p>
              </p:txBody>
            </p:sp>
            <p:sp>
              <p:nvSpPr>
                <p:cNvPr id="121" name="Tekstvak 81"/>
                <p:cNvSpPr txBox="1"/>
                <p:nvPr/>
              </p:nvSpPr>
              <p:spPr>
                <a:xfrm>
                  <a:off x="13573594" y="3501896"/>
                  <a:ext cx="888311" cy="246221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>
                  <a:defPPr>
                    <a:defRPr lang="nl-NL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900" i="0" u="none" strike="noStrike" kern="0" cap="none" spc="0" normalizeH="0" baseline="0">
                      <a:ln>
                        <a:noFill/>
                      </a:ln>
                      <a:effectLst>
                        <a:outerShdw blurRad="25400" algn="ctr" rotWithShape="0">
                          <a:prstClr val="white"/>
                        </a:outerShdw>
                      </a:effectLst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5pPr>
                  <a:lvl6pPr>
                    <a:defRPr>
                      <a:latin typeface="Arial" charset="0"/>
                      <a:cs typeface="Arial" charset="0"/>
                    </a:defRPr>
                  </a:lvl6pPr>
                  <a:lvl7pPr>
                    <a:defRPr>
                      <a:latin typeface="Arial" charset="0"/>
                      <a:cs typeface="Arial" charset="0"/>
                    </a:defRPr>
                  </a:lvl7pPr>
                  <a:lvl8pPr>
                    <a:defRPr>
                      <a:latin typeface="Arial" charset="0"/>
                      <a:cs typeface="Arial" charset="0"/>
                    </a:defRPr>
                  </a:lvl8pPr>
                  <a:lvl9pPr>
                    <a:defRPr>
                      <a:latin typeface="Arial" charset="0"/>
                      <a:cs typeface="Arial" charset="0"/>
                    </a:defRPr>
                  </a:lvl9pPr>
                </a:lstStyle>
                <a:p>
                  <a:r>
                    <a:rPr lang="nl-NL" sz="1000"/>
                    <a:t>Invoegen</a:t>
                  </a:r>
                </a:p>
              </p:txBody>
            </p:sp>
            <p:cxnSp>
              <p:nvCxnSpPr>
                <p:cNvPr id="122" name="Rechte verbindingslijn 121"/>
                <p:cNvCxnSpPr/>
                <p:nvPr/>
              </p:nvCxnSpPr>
              <p:spPr>
                <a:xfrm>
                  <a:off x="14461905" y="3507058"/>
                  <a:ext cx="0" cy="224432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3" name="Gelijkbenige driehoek 122"/>
                <p:cNvSpPr/>
                <p:nvPr/>
              </p:nvSpPr>
              <p:spPr>
                <a:xfrm rot="10800000">
                  <a:off x="14518584" y="3600521"/>
                  <a:ext cx="105309" cy="57157"/>
                </a:xfrm>
                <a:prstGeom prst="triangl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/>
                </a:p>
              </p:txBody>
            </p:sp>
          </p:grpSp>
          <p:grpSp>
            <p:nvGrpSpPr>
              <p:cNvPr id="108" name="Video icoon"/>
              <p:cNvGrpSpPr/>
              <p:nvPr userDrawn="1"/>
            </p:nvGrpSpPr>
            <p:grpSpPr>
              <a:xfrm>
                <a:off x="12867538" y="1744921"/>
                <a:ext cx="510875" cy="521956"/>
                <a:chOff x="10510560" y="2589326"/>
                <a:chExt cx="939297" cy="959670"/>
              </a:xfrm>
            </p:grpSpPr>
            <p:sp>
              <p:nvSpPr>
                <p:cNvPr id="109" name="Ovaal 108"/>
                <p:cNvSpPr/>
                <p:nvPr userDrawn="1"/>
              </p:nvSpPr>
              <p:spPr>
                <a:xfrm>
                  <a:off x="10565049" y="2589326"/>
                  <a:ext cx="769780" cy="769780"/>
                </a:xfrm>
                <a:prstGeom prst="ellipse">
                  <a:avLst/>
                </a:prstGeom>
                <a:gradFill flip="none" rotWithShape="1">
                  <a:gsLst>
                    <a:gs pos="53000">
                      <a:srgbClr val="1D1D1B">
                        <a:lumMod val="25000"/>
                        <a:lumOff val="75000"/>
                      </a:srgbClr>
                    </a:gs>
                    <a:gs pos="100000">
                      <a:srgbClr val="1D1D1B">
                        <a:lumMod val="50000"/>
                        <a:lumOff val="50000"/>
                      </a:srgbClr>
                    </a:gs>
                  </a:gsLst>
                  <a:lin ang="8100000" scaled="1"/>
                  <a:tileRect/>
                </a:gradFill>
                <a:ln w="19050" cap="flat" cmpd="sng" algn="ctr">
                  <a:solidFill>
                    <a:srgbClr val="FFFFFF">
                      <a:lumMod val="50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Ovaal 109"/>
                <p:cNvSpPr/>
                <p:nvPr userDrawn="1"/>
              </p:nvSpPr>
              <p:spPr>
                <a:xfrm>
                  <a:off x="10646722" y="2589326"/>
                  <a:ext cx="769780" cy="769780"/>
                </a:xfrm>
                <a:prstGeom prst="ellipse">
                  <a:avLst/>
                </a:prstGeom>
                <a:gradFill>
                  <a:gsLst>
                    <a:gs pos="0">
                      <a:srgbClr val="1D1D1B">
                        <a:lumMod val="10000"/>
                        <a:lumOff val="90000"/>
                      </a:srgbClr>
                    </a:gs>
                    <a:gs pos="100000">
                      <a:srgbClr val="1D1D1B">
                        <a:lumMod val="25000"/>
                        <a:lumOff val="75000"/>
                      </a:srgbClr>
                    </a:gs>
                  </a:gsLst>
                  <a:lin ang="8100000" scaled="1"/>
                </a:gradFill>
                <a:ln w="19050" cap="flat" cmpd="sng" algn="ctr">
                  <a:solidFill>
                    <a:srgbClr val="FFFFFF">
                      <a:lumMod val="50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10704223" y="2644466"/>
                  <a:ext cx="655000" cy="631020"/>
                  <a:chOff x="10707687" y="2647930"/>
                  <a:chExt cx="655000" cy="631020"/>
                </a:xfrm>
              </p:grpSpPr>
              <p:sp>
                <p:nvSpPr>
                  <p:cNvPr id="114" name="Ovaal 113"/>
                  <p:cNvSpPr/>
                  <p:nvPr userDrawn="1"/>
                </p:nvSpPr>
                <p:spPr>
                  <a:xfrm>
                    <a:off x="10923711" y="2647930"/>
                    <a:ext cx="216024" cy="216024"/>
                  </a:xfrm>
                  <a:prstGeom prst="ellipse">
                    <a:avLst/>
                  </a:prstGeom>
                  <a:gradFill flip="none" rotWithShape="1">
                    <a:gsLst>
                      <a:gs pos="9000">
                        <a:srgbClr val="1D1D1B">
                          <a:lumMod val="25000"/>
                          <a:lumOff val="75000"/>
                        </a:srgbClr>
                      </a:gs>
                      <a:gs pos="100000">
                        <a:srgbClr val="1D1D1B">
                          <a:lumMod val="90000"/>
                          <a:lumOff val="10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5" name="Ovaal 114"/>
                  <p:cNvSpPr/>
                  <p:nvPr userDrawn="1"/>
                </p:nvSpPr>
                <p:spPr>
                  <a:xfrm>
                    <a:off x="10707687" y="2800330"/>
                    <a:ext cx="216024" cy="216024"/>
                  </a:xfrm>
                  <a:prstGeom prst="ellipse">
                    <a:avLst/>
                  </a:prstGeom>
                  <a:gradFill flip="none" rotWithShape="1">
                    <a:gsLst>
                      <a:gs pos="9000">
                        <a:srgbClr val="1D1D1B">
                          <a:lumMod val="25000"/>
                          <a:lumOff val="75000"/>
                        </a:srgbClr>
                      </a:gs>
                      <a:gs pos="100000">
                        <a:srgbClr val="1D1D1B">
                          <a:lumMod val="90000"/>
                          <a:lumOff val="10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6" name="Ovaal 115"/>
                  <p:cNvSpPr/>
                  <p:nvPr userDrawn="1"/>
                </p:nvSpPr>
                <p:spPr>
                  <a:xfrm>
                    <a:off x="11146663" y="2800330"/>
                    <a:ext cx="216024" cy="216024"/>
                  </a:xfrm>
                  <a:prstGeom prst="ellipse">
                    <a:avLst/>
                  </a:prstGeom>
                  <a:gradFill flip="none" rotWithShape="1">
                    <a:gsLst>
                      <a:gs pos="9000">
                        <a:srgbClr val="1D1D1B">
                          <a:lumMod val="25000"/>
                          <a:lumOff val="75000"/>
                        </a:srgbClr>
                      </a:gs>
                      <a:gs pos="100000">
                        <a:srgbClr val="1D1D1B">
                          <a:lumMod val="90000"/>
                          <a:lumOff val="10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7" name="Ovaal 116"/>
                  <p:cNvSpPr/>
                  <p:nvPr userDrawn="1"/>
                </p:nvSpPr>
                <p:spPr>
                  <a:xfrm>
                    <a:off x="10793802" y="3062926"/>
                    <a:ext cx="216024" cy="216024"/>
                  </a:xfrm>
                  <a:prstGeom prst="ellipse">
                    <a:avLst/>
                  </a:prstGeom>
                  <a:gradFill flip="none" rotWithShape="1">
                    <a:gsLst>
                      <a:gs pos="9000">
                        <a:srgbClr val="1D1D1B">
                          <a:lumMod val="25000"/>
                          <a:lumOff val="75000"/>
                        </a:srgbClr>
                      </a:gs>
                      <a:gs pos="100000">
                        <a:srgbClr val="1D1D1B">
                          <a:lumMod val="90000"/>
                          <a:lumOff val="10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8" name="Ovaal 117"/>
                  <p:cNvSpPr/>
                  <p:nvPr userDrawn="1"/>
                </p:nvSpPr>
                <p:spPr>
                  <a:xfrm>
                    <a:off x="11067727" y="3062926"/>
                    <a:ext cx="216024" cy="216024"/>
                  </a:xfrm>
                  <a:prstGeom prst="ellipse">
                    <a:avLst/>
                  </a:prstGeom>
                  <a:gradFill flip="none" rotWithShape="1">
                    <a:gsLst>
                      <a:gs pos="9000">
                        <a:srgbClr val="1D1D1B">
                          <a:lumMod val="25000"/>
                          <a:lumOff val="75000"/>
                        </a:srgbClr>
                      </a:gs>
                      <a:gs pos="100000">
                        <a:srgbClr val="1D1D1B">
                          <a:lumMod val="90000"/>
                          <a:lumOff val="10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9" name="Ovaal 118"/>
                  <p:cNvSpPr/>
                  <p:nvPr userDrawn="1"/>
                </p:nvSpPr>
                <p:spPr>
                  <a:xfrm>
                    <a:off x="10953403" y="2892430"/>
                    <a:ext cx="170496" cy="170496"/>
                  </a:xfrm>
                  <a:prstGeom prst="ellipse">
                    <a:avLst/>
                  </a:prstGeom>
                  <a:gradFill>
                    <a:gsLst>
                      <a:gs pos="0">
                        <a:srgbClr val="1D1D1B">
                          <a:lumMod val="10000"/>
                          <a:lumOff val="90000"/>
                        </a:srgbClr>
                      </a:gs>
                      <a:gs pos="100000">
                        <a:srgbClr val="1D1D1B">
                          <a:lumMod val="25000"/>
                          <a:lumOff val="75000"/>
                        </a:srgbClr>
                      </a:gs>
                    </a:gsLst>
                    <a:path path="circle">
                      <a:fillToRect l="100000" t="100000"/>
                    </a:path>
                  </a:gradFill>
                  <a:ln w="25400" cap="flat" cmpd="sng" algn="ctr">
                    <a:solidFill>
                      <a:srgbClr val="FFFFFF">
                        <a:lumMod val="65000"/>
                        <a:alpha val="38000"/>
                      </a:srgbClr>
                    </a:solidFill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12" name="Rechthoek 10"/>
                <p:cNvSpPr/>
                <p:nvPr userDrawn="1"/>
              </p:nvSpPr>
              <p:spPr>
                <a:xfrm>
                  <a:off x="10510560" y="3140981"/>
                  <a:ext cx="939297" cy="408015"/>
                </a:xfrm>
                <a:custGeom>
                  <a:avLst/>
                  <a:gdLst>
                    <a:gd name="connsiteX0" fmla="*/ 0 w 1129820"/>
                    <a:gd name="connsiteY0" fmla="*/ 0 h 386313"/>
                    <a:gd name="connsiteX1" fmla="*/ 1129820 w 1129820"/>
                    <a:gd name="connsiteY1" fmla="*/ 0 h 386313"/>
                    <a:gd name="connsiteX2" fmla="*/ 1129820 w 1129820"/>
                    <a:gd name="connsiteY2" fmla="*/ 386313 h 386313"/>
                    <a:gd name="connsiteX3" fmla="*/ 0 w 1129820"/>
                    <a:gd name="connsiteY3" fmla="*/ 386313 h 386313"/>
                    <a:gd name="connsiteX4" fmla="*/ 0 w 1129820"/>
                    <a:gd name="connsiteY4" fmla="*/ 0 h 386313"/>
                    <a:gd name="connsiteX0" fmla="*/ 145473 w 1129820"/>
                    <a:gd name="connsiteY0" fmla="*/ 0 h 427876"/>
                    <a:gd name="connsiteX1" fmla="*/ 1129820 w 1129820"/>
                    <a:gd name="connsiteY1" fmla="*/ 41563 h 427876"/>
                    <a:gd name="connsiteX2" fmla="*/ 1129820 w 1129820"/>
                    <a:gd name="connsiteY2" fmla="*/ 427876 h 427876"/>
                    <a:gd name="connsiteX3" fmla="*/ 0 w 1129820"/>
                    <a:gd name="connsiteY3" fmla="*/ 427876 h 427876"/>
                    <a:gd name="connsiteX4" fmla="*/ 145473 w 1129820"/>
                    <a:gd name="connsiteY4" fmla="*/ 0 h 427876"/>
                    <a:gd name="connsiteX0" fmla="*/ 145473 w 1129820"/>
                    <a:gd name="connsiteY0" fmla="*/ 0 h 427876"/>
                    <a:gd name="connsiteX1" fmla="*/ 1129820 w 1129820"/>
                    <a:gd name="connsiteY1" fmla="*/ 41563 h 427876"/>
                    <a:gd name="connsiteX2" fmla="*/ 1129820 w 1129820"/>
                    <a:gd name="connsiteY2" fmla="*/ 427876 h 427876"/>
                    <a:gd name="connsiteX3" fmla="*/ 0 w 1129820"/>
                    <a:gd name="connsiteY3" fmla="*/ 427876 h 427876"/>
                    <a:gd name="connsiteX4" fmla="*/ 145473 w 1129820"/>
                    <a:gd name="connsiteY4" fmla="*/ 0 h 427876"/>
                    <a:gd name="connsiteX0" fmla="*/ 33864 w 1018211"/>
                    <a:gd name="connsiteY0" fmla="*/ 0 h 427876"/>
                    <a:gd name="connsiteX1" fmla="*/ 1018211 w 1018211"/>
                    <a:gd name="connsiteY1" fmla="*/ 41563 h 427876"/>
                    <a:gd name="connsiteX2" fmla="*/ 1018211 w 1018211"/>
                    <a:gd name="connsiteY2" fmla="*/ 427876 h 427876"/>
                    <a:gd name="connsiteX3" fmla="*/ 151628 w 1018211"/>
                    <a:gd name="connsiteY3" fmla="*/ 310112 h 427876"/>
                    <a:gd name="connsiteX4" fmla="*/ 33864 w 1018211"/>
                    <a:gd name="connsiteY4" fmla="*/ 0 h 427876"/>
                    <a:gd name="connsiteX0" fmla="*/ 100890 w 1085237"/>
                    <a:gd name="connsiteY0" fmla="*/ 0 h 427876"/>
                    <a:gd name="connsiteX1" fmla="*/ 1085237 w 1085237"/>
                    <a:gd name="connsiteY1" fmla="*/ 41563 h 427876"/>
                    <a:gd name="connsiteX2" fmla="*/ 1085237 w 1085237"/>
                    <a:gd name="connsiteY2" fmla="*/ 427876 h 427876"/>
                    <a:gd name="connsiteX3" fmla="*/ 218654 w 1085237"/>
                    <a:gd name="connsiteY3" fmla="*/ 310112 h 427876"/>
                    <a:gd name="connsiteX4" fmla="*/ 100890 w 1085237"/>
                    <a:gd name="connsiteY4" fmla="*/ 0 h 427876"/>
                    <a:gd name="connsiteX0" fmla="*/ 103919 w 1081338"/>
                    <a:gd name="connsiteY0" fmla="*/ 0 h 448658"/>
                    <a:gd name="connsiteX1" fmla="*/ 1081338 w 1081338"/>
                    <a:gd name="connsiteY1" fmla="*/ 62345 h 448658"/>
                    <a:gd name="connsiteX2" fmla="*/ 1081338 w 1081338"/>
                    <a:gd name="connsiteY2" fmla="*/ 448658 h 448658"/>
                    <a:gd name="connsiteX3" fmla="*/ 214755 w 1081338"/>
                    <a:gd name="connsiteY3" fmla="*/ 330894 h 448658"/>
                    <a:gd name="connsiteX4" fmla="*/ 103919 w 1081338"/>
                    <a:gd name="connsiteY4" fmla="*/ 0 h 448658"/>
                    <a:gd name="connsiteX0" fmla="*/ 123695 w 1101114"/>
                    <a:gd name="connsiteY0" fmla="*/ 0 h 448658"/>
                    <a:gd name="connsiteX1" fmla="*/ 1101114 w 1101114"/>
                    <a:gd name="connsiteY1" fmla="*/ 62345 h 448658"/>
                    <a:gd name="connsiteX2" fmla="*/ 1101114 w 1101114"/>
                    <a:gd name="connsiteY2" fmla="*/ 448658 h 448658"/>
                    <a:gd name="connsiteX3" fmla="*/ 234531 w 1101114"/>
                    <a:gd name="connsiteY3" fmla="*/ 330894 h 448658"/>
                    <a:gd name="connsiteX4" fmla="*/ 123695 w 1101114"/>
                    <a:gd name="connsiteY4" fmla="*/ 0 h 448658"/>
                    <a:gd name="connsiteX0" fmla="*/ 123695 w 1101114"/>
                    <a:gd name="connsiteY0" fmla="*/ 0 h 448658"/>
                    <a:gd name="connsiteX1" fmla="*/ 1101114 w 1101114"/>
                    <a:gd name="connsiteY1" fmla="*/ 62345 h 448658"/>
                    <a:gd name="connsiteX2" fmla="*/ 1101114 w 1101114"/>
                    <a:gd name="connsiteY2" fmla="*/ 448658 h 448658"/>
                    <a:gd name="connsiteX3" fmla="*/ 403939 w 1101114"/>
                    <a:gd name="connsiteY3" fmla="*/ 175382 h 448658"/>
                    <a:gd name="connsiteX4" fmla="*/ 234531 w 1101114"/>
                    <a:gd name="connsiteY4" fmla="*/ 330894 h 448658"/>
                    <a:gd name="connsiteX5" fmla="*/ 123695 w 1101114"/>
                    <a:gd name="connsiteY5" fmla="*/ 0 h 448658"/>
                    <a:gd name="connsiteX0" fmla="*/ 123695 w 1101114"/>
                    <a:gd name="connsiteY0" fmla="*/ 4727 h 453385"/>
                    <a:gd name="connsiteX1" fmla="*/ 1101114 w 1101114"/>
                    <a:gd name="connsiteY1" fmla="*/ 67072 h 453385"/>
                    <a:gd name="connsiteX2" fmla="*/ 1101114 w 1101114"/>
                    <a:gd name="connsiteY2" fmla="*/ 453385 h 453385"/>
                    <a:gd name="connsiteX3" fmla="*/ 577120 w 1101114"/>
                    <a:gd name="connsiteY3" fmla="*/ 0 h 453385"/>
                    <a:gd name="connsiteX4" fmla="*/ 234531 w 1101114"/>
                    <a:gd name="connsiteY4" fmla="*/ 335621 h 453385"/>
                    <a:gd name="connsiteX5" fmla="*/ 123695 w 1101114"/>
                    <a:gd name="connsiteY5" fmla="*/ 4727 h 453385"/>
                    <a:gd name="connsiteX0" fmla="*/ 123695 w 1101114"/>
                    <a:gd name="connsiteY0" fmla="*/ 4727 h 453385"/>
                    <a:gd name="connsiteX1" fmla="*/ 1101114 w 1101114"/>
                    <a:gd name="connsiteY1" fmla="*/ 67072 h 453385"/>
                    <a:gd name="connsiteX2" fmla="*/ 1101114 w 1101114"/>
                    <a:gd name="connsiteY2" fmla="*/ 453385 h 453385"/>
                    <a:gd name="connsiteX3" fmla="*/ 577120 w 1101114"/>
                    <a:gd name="connsiteY3" fmla="*/ 0 h 453385"/>
                    <a:gd name="connsiteX4" fmla="*/ 234531 w 1101114"/>
                    <a:gd name="connsiteY4" fmla="*/ 335621 h 453385"/>
                    <a:gd name="connsiteX5" fmla="*/ 123695 w 1101114"/>
                    <a:gd name="connsiteY5" fmla="*/ 4727 h 453385"/>
                    <a:gd name="connsiteX0" fmla="*/ 123695 w 1101114"/>
                    <a:gd name="connsiteY0" fmla="*/ 11654 h 460312"/>
                    <a:gd name="connsiteX1" fmla="*/ 1101114 w 1101114"/>
                    <a:gd name="connsiteY1" fmla="*/ 73999 h 460312"/>
                    <a:gd name="connsiteX2" fmla="*/ 1101114 w 1101114"/>
                    <a:gd name="connsiteY2" fmla="*/ 460312 h 460312"/>
                    <a:gd name="connsiteX3" fmla="*/ 604829 w 1101114"/>
                    <a:gd name="connsiteY3" fmla="*/ 0 h 460312"/>
                    <a:gd name="connsiteX4" fmla="*/ 234531 w 1101114"/>
                    <a:gd name="connsiteY4" fmla="*/ 342548 h 460312"/>
                    <a:gd name="connsiteX5" fmla="*/ 123695 w 1101114"/>
                    <a:gd name="connsiteY5" fmla="*/ 11654 h 460312"/>
                    <a:gd name="connsiteX0" fmla="*/ 123695 w 1101114"/>
                    <a:gd name="connsiteY0" fmla="*/ 11654 h 460312"/>
                    <a:gd name="connsiteX1" fmla="*/ 1101114 w 1101114"/>
                    <a:gd name="connsiteY1" fmla="*/ 73999 h 460312"/>
                    <a:gd name="connsiteX2" fmla="*/ 1101114 w 1101114"/>
                    <a:gd name="connsiteY2" fmla="*/ 460312 h 460312"/>
                    <a:gd name="connsiteX3" fmla="*/ 604829 w 1101114"/>
                    <a:gd name="connsiteY3" fmla="*/ 0 h 460312"/>
                    <a:gd name="connsiteX4" fmla="*/ 234531 w 1101114"/>
                    <a:gd name="connsiteY4" fmla="*/ 342548 h 460312"/>
                    <a:gd name="connsiteX5" fmla="*/ 123695 w 1101114"/>
                    <a:gd name="connsiteY5" fmla="*/ 11654 h 460312"/>
                    <a:gd name="connsiteX0" fmla="*/ 123695 w 1101114"/>
                    <a:gd name="connsiteY0" fmla="*/ 11654 h 460312"/>
                    <a:gd name="connsiteX1" fmla="*/ 1101114 w 1101114"/>
                    <a:gd name="connsiteY1" fmla="*/ 73999 h 460312"/>
                    <a:gd name="connsiteX2" fmla="*/ 1101114 w 1101114"/>
                    <a:gd name="connsiteY2" fmla="*/ 460312 h 460312"/>
                    <a:gd name="connsiteX3" fmla="*/ 604829 w 1101114"/>
                    <a:gd name="connsiteY3" fmla="*/ 0 h 460312"/>
                    <a:gd name="connsiteX4" fmla="*/ 234531 w 1101114"/>
                    <a:gd name="connsiteY4" fmla="*/ 342548 h 460312"/>
                    <a:gd name="connsiteX5" fmla="*/ 123695 w 1101114"/>
                    <a:gd name="connsiteY5" fmla="*/ 11654 h 460312"/>
                    <a:gd name="connsiteX0" fmla="*/ 98893 w 1076312"/>
                    <a:gd name="connsiteY0" fmla="*/ 11654 h 460312"/>
                    <a:gd name="connsiteX1" fmla="*/ 1076312 w 1076312"/>
                    <a:gd name="connsiteY1" fmla="*/ 73999 h 460312"/>
                    <a:gd name="connsiteX2" fmla="*/ 1076312 w 1076312"/>
                    <a:gd name="connsiteY2" fmla="*/ 460312 h 460312"/>
                    <a:gd name="connsiteX3" fmla="*/ 580027 w 1076312"/>
                    <a:gd name="connsiteY3" fmla="*/ 0 h 460312"/>
                    <a:gd name="connsiteX4" fmla="*/ 209729 w 1076312"/>
                    <a:gd name="connsiteY4" fmla="*/ 342548 h 460312"/>
                    <a:gd name="connsiteX5" fmla="*/ 98893 w 1076312"/>
                    <a:gd name="connsiteY5" fmla="*/ 11654 h 460312"/>
                    <a:gd name="connsiteX0" fmla="*/ 103531 w 1080950"/>
                    <a:gd name="connsiteY0" fmla="*/ 11654 h 460312"/>
                    <a:gd name="connsiteX1" fmla="*/ 1080950 w 1080950"/>
                    <a:gd name="connsiteY1" fmla="*/ 73999 h 460312"/>
                    <a:gd name="connsiteX2" fmla="*/ 1080950 w 1080950"/>
                    <a:gd name="connsiteY2" fmla="*/ 460312 h 460312"/>
                    <a:gd name="connsiteX3" fmla="*/ 584665 w 1080950"/>
                    <a:gd name="connsiteY3" fmla="*/ 0 h 460312"/>
                    <a:gd name="connsiteX4" fmla="*/ 200512 w 1080950"/>
                    <a:gd name="connsiteY4" fmla="*/ 342548 h 460312"/>
                    <a:gd name="connsiteX5" fmla="*/ 103531 w 1080950"/>
                    <a:gd name="connsiteY5" fmla="*/ 11654 h 460312"/>
                    <a:gd name="connsiteX0" fmla="*/ 103531 w 1080950"/>
                    <a:gd name="connsiteY0" fmla="*/ 11654 h 460312"/>
                    <a:gd name="connsiteX1" fmla="*/ 1080950 w 1080950"/>
                    <a:gd name="connsiteY1" fmla="*/ 73999 h 460312"/>
                    <a:gd name="connsiteX2" fmla="*/ 1080950 w 1080950"/>
                    <a:gd name="connsiteY2" fmla="*/ 460312 h 460312"/>
                    <a:gd name="connsiteX3" fmla="*/ 584665 w 1080950"/>
                    <a:gd name="connsiteY3" fmla="*/ 0 h 460312"/>
                    <a:gd name="connsiteX4" fmla="*/ 200512 w 1080950"/>
                    <a:gd name="connsiteY4" fmla="*/ 342548 h 460312"/>
                    <a:gd name="connsiteX5" fmla="*/ 103531 w 1080950"/>
                    <a:gd name="connsiteY5" fmla="*/ 11654 h 460312"/>
                    <a:gd name="connsiteX0" fmla="*/ 115967 w 1093386"/>
                    <a:gd name="connsiteY0" fmla="*/ 11654 h 460312"/>
                    <a:gd name="connsiteX1" fmla="*/ 1093386 w 1093386"/>
                    <a:gd name="connsiteY1" fmla="*/ 73999 h 460312"/>
                    <a:gd name="connsiteX2" fmla="*/ 1093386 w 1093386"/>
                    <a:gd name="connsiteY2" fmla="*/ 460312 h 460312"/>
                    <a:gd name="connsiteX3" fmla="*/ 597101 w 1093386"/>
                    <a:gd name="connsiteY3" fmla="*/ 0 h 460312"/>
                    <a:gd name="connsiteX4" fmla="*/ 212948 w 1093386"/>
                    <a:gd name="connsiteY4" fmla="*/ 342548 h 460312"/>
                    <a:gd name="connsiteX5" fmla="*/ 115967 w 1093386"/>
                    <a:gd name="connsiteY5" fmla="*/ 11654 h 460312"/>
                    <a:gd name="connsiteX0" fmla="*/ 115967 w 1093386"/>
                    <a:gd name="connsiteY0" fmla="*/ 11654 h 460312"/>
                    <a:gd name="connsiteX1" fmla="*/ 1093386 w 1093386"/>
                    <a:gd name="connsiteY1" fmla="*/ 73999 h 460312"/>
                    <a:gd name="connsiteX2" fmla="*/ 1093386 w 1093386"/>
                    <a:gd name="connsiteY2" fmla="*/ 460312 h 460312"/>
                    <a:gd name="connsiteX3" fmla="*/ 597101 w 1093386"/>
                    <a:gd name="connsiteY3" fmla="*/ 0 h 460312"/>
                    <a:gd name="connsiteX4" fmla="*/ 212948 w 1093386"/>
                    <a:gd name="connsiteY4" fmla="*/ 342548 h 460312"/>
                    <a:gd name="connsiteX5" fmla="*/ 115967 w 1093386"/>
                    <a:gd name="connsiteY5" fmla="*/ 11654 h 460312"/>
                    <a:gd name="connsiteX0" fmla="*/ 76283 w 1053702"/>
                    <a:gd name="connsiteY0" fmla="*/ 32436 h 481094"/>
                    <a:gd name="connsiteX1" fmla="*/ 1053702 w 1053702"/>
                    <a:gd name="connsiteY1" fmla="*/ 94781 h 481094"/>
                    <a:gd name="connsiteX2" fmla="*/ 1053702 w 1053702"/>
                    <a:gd name="connsiteY2" fmla="*/ 481094 h 481094"/>
                    <a:gd name="connsiteX3" fmla="*/ 640544 w 1053702"/>
                    <a:gd name="connsiteY3" fmla="*/ 0 h 481094"/>
                    <a:gd name="connsiteX4" fmla="*/ 173264 w 1053702"/>
                    <a:gd name="connsiteY4" fmla="*/ 363330 h 481094"/>
                    <a:gd name="connsiteX5" fmla="*/ 76283 w 1053702"/>
                    <a:gd name="connsiteY5" fmla="*/ 32436 h 481094"/>
                    <a:gd name="connsiteX0" fmla="*/ 108719 w 1086138"/>
                    <a:gd name="connsiteY0" fmla="*/ 32436 h 481094"/>
                    <a:gd name="connsiteX1" fmla="*/ 1086138 w 1086138"/>
                    <a:gd name="connsiteY1" fmla="*/ 94781 h 481094"/>
                    <a:gd name="connsiteX2" fmla="*/ 1086138 w 1086138"/>
                    <a:gd name="connsiteY2" fmla="*/ 481094 h 481094"/>
                    <a:gd name="connsiteX3" fmla="*/ 672980 w 1086138"/>
                    <a:gd name="connsiteY3" fmla="*/ 0 h 481094"/>
                    <a:gd name="connsiteX4" fmla="*/ 205700 w 1086138"/>
                    <a:gd name="connsiteY4" fmla="*/ 363330 h 481094"/>
                    <a:gd name="connsiteX5" fmla="*/ 108719 w 1086138"/>
                    <a:gd name="connsiteY5" fmla="*/ 32436 h 481094"/>
                    <a:gd name="connsiteX0" fmla="*/ 108719 w 1086138"/>
                    <a:gd name="connsiteY0" fmla="*/ 32436 h 481094"/>
                    <a:gd name="connsiteX1" fmla="*/ 1086138 w 1086138"/>
                    <a:gd name="connsiteY1" fmla="*/ 94781 h 481094"/>
                    <a:gd name="connsiteX2" fmla="*/ 1086138 w 1086138"/>
                    <a:gd name="connsiteY2" fmla="*/ 481094 h 481094"/>
                    <a:gd name="connsiteX3" fmla="*/ 672980 w 1086138"/>
                    <a:gd name="connsiteY3" fmla="*/ 0 h 481094"/>
                    <a:gd name="connsiteX4" fmla="*/ 205700 w 1086138"/>
                    <a:gd name="connsiteY4" fmla="*/ 363330 h 481094"/>
                    <a:gd name="connsiteX5" fmla="*/ 108719 w 1086138"/>
                    <a:gd name="connsiteY5" fmla="*/ 32436 h 481094"/>
                    <a:gd name="connsiteX0" fmla="*/ 108719 w 1210829"/>
                    <a:gd name="connsiteY0" fmla="*/ 32436 h 481094"/>
                    <a:gd name="connsiteX1" fmla="*/ 1210829 w 1210829"/>
                    <a:gd name="connsiteY1" fmla="*/ 351090 h 481094"/>
                    <a:gd name="connsiteX2" fmla="*/ 1086138 w 1210829"/>
                    <a:gd name="connsiteY2" fmla="*/ 481094 h 481094"/>
                    <a:gd name="connsiteX3" fmla="*/ 672980 w 1210829"/>
                    <a:gd name="connsiteY3" fmla="*/ 0 h 481094"/>
                    <a:gd name="connsiteX4" fmla="*/ 205700 w 1210829"/>
                    <a:gd name="connsiteY4" fmla="*/ 363330 h 481094"/>
                    <a:gd name="connsiteX5" fmla="*/ 108719 w 1210829"/>
                    <a:gd name="connsiteY5" fmla="*/ 32436 h 481094"/>
                    <a:gd name="connsiteX0" fmla="*/ 108719 w 1210829"/>
                    <a:gd name="connsiteY0" fmla="*/ 32436 h 367783"/>
                    <a:gd name="connsiteX1" fmla="*/ 1210829 w 1210829"/>
                    <a:gd name="connsiteY1" fmla="*/ 351090 h 367783"/>
                    <a:gd name="connsiteX2" fmla="*/ 996084 w 1210829"/>
                    <a:gd name="connsiteY2" fmla="*/ 30822 h 367783"/>
                    <a:gd name="connsiteX3" fmla="*/ 672980 w 1210829"/>
                    <a:gd name="connsiteY3" fmla="*/ 0 h 367783"/>
                    <a:gd name="connsiteX4" fmla="*/ 205700 w 1210829"/>
                    <a:gd name="connsiteY4" fmla="*/ 363330 h 367783"/>
                    <a:gd name="connsiteX5" fmla="*/ 108719 w 1210829"/>
                    <a:gd name="connsiteY5" fmla="*/ 32436 h 367783"/>
                    <a:gd name="connsiteX0" fmla="*/ 108719 w 996084"/>
                    <a:gd name="connsiteY0" fmla="*/ 32436 h 600471"/>
                    <a:gd name="connsiteX1" fmla="*/ 899101 w 996084"/>
                    <a:gd name="connsiteY1" fmla="*/ 600471 h 600471"/>
                    <a:gd name="connsiteX2" fmla="*/ 996084 w 996084"/>
                    <a:gd name="connsiteY2" fmla="*/ 30822 h 600471"/>
                    <a:gd name="connsiteX3" fmla="*/ 672980 w 996084"/>
                    <a:gd name="connsiteY3" fmla="*/ 0 h 600471"/>
                    <a:gd name="connsiteX4" fmla="*/ 205700 w 996084"/>
                    <a:gd name="connsiteY4" fmla="*/ 363330 h 600471"/>
                    <a:gd name="connsiteX5" fmla="*/ 108719 w 996084"/>
                    <a:gd name="connsiteY5" fmla="*/ 32436 h 600471"/>
                    <a:gd name="connsiteX0" fmla="*/ 108719 w 899101"/>
                    <a:gd name="connsiteY0" fmla="*/ 32436 h 600471"/>
                    <a:gd name="connsiteX1" fmla="*/ 899101 w 899101"/>
                    <a:gd name="connsiteY1" fmla="*/ 600471 h 600471"/>
                    <a:gd name="connsiteX2" fmla="*/ 767484 w 899101"/>
                    <a:gd name="connsiteY2" fmla="*/ 391040 h 600471"/>
                    <a:gd name="connsiteX3" fmla="*/ 672980 w 899101"/>
                    <a:gd name="connsiteY3" fmla="*/ 0 h 600471"/>
                    <a:gd name="connsiteX4" fmla="*/ 205700 w 899101"/>
                    <a:gd name="connsiteY4" fmla="*/ 363330 h 600471"/>
                    <a:gd name="connsiteX5" fmla="*/ 108719 w 899101"/>
                    <a:gd name="connsiteY5" fmla="*/ 32436 h 600471"/>
                    <a:gd name="connsiteX0" fmla="*/ 108719 w 923424"/>
                    <a:gd name="connsiteY0" fmla="*/ 32436 h 600471"/>
                    <a:gd name="connsiteX1" fmla="*/ 899101 w 923424"/>
                    <a:gd name="connsiteY1" fmla="*/ 600471 h 600471"/>
                    <a:gd name="connsiteX2" fmla="*/ 767484 w 923424"/>
                    <a:gd name="connsiteY2" fmla="*/ 391040 h 600471"/>
                    <a:gd name="connsiteX3" fmla="*/ 672980 w 923424"/>
                    <a:gd name="connsiteY3" fmla="*/ 0 h 600471"/>
                    <a:gd name="connsiteX4" fmla="*/ 205700 w 923424"/>
                    <a:gd name="connsiteY4" fmla="*/ 363330 h 600471"/>
                    <a:gd name="connsiteX5" fmla="*/ 108719 w 923424"/>
                    <a:gd name="connsiteY5" fmla="*/ 32436 h 600471"/>
                    <a:gd name="connsiteX0" fmla="*/ 108719 w 925266"/>
                    <a:gd name="connsiteY0" fmla="*/ 34821 h 602856"/>
                    <a:gd name="connsiteX1" fmla="*/ 899101 w 925266"/>
                    <a:gd name="connsiteY1" fmla="*/ 602856 h 602856"/>
                    <a:gd name="connsiteX2" fmla="*/ 767484 w 925266"/>
                    <a:gd name="connsiteY2" fmla="*/ 393425 h 602856"/>
                    <a:gd name="connsiteX3" fmla="*/ 672980 w 925266"/>
                    <a:gd name="connsiteY3" fmla="*/ 2385 h 602856"/>
                    <a:gd name="connsiteX4" fmla="*/ 205700 w 925266"/>
                    <a:gd name="connsiteY4" fmla="*/ 365715 h 602856"/>
                    <a:gd name="connsiteX5" fmla="*/ 108719 w 925266"/>
                    <a:gd name="connsiteY5" fmla="*/ 34821 h 602856"/>
                    <a:gd name="connsiteX0" fmla="*/ 108719 w 934847"/>
                    <a:gd name="connsiteY0" fmla="*/ 32442 h 600477"/>
                    <a:gd name="connsiteX1" fmla="*/ 899101 w 934847"/>
                    <a:gd name="connsiteY1" fmla="*/ 600477 h 600477"/>
                    <a:gd name="connsiteX2" fmla="*/ 767484 w 934847"/>
                    <a:gd name="connsiteY2" fmla="*/ 391046 h 600477"/>
                    <a:gd name="connsiteX3" fmla="*/ 672980 w 934847"/>
                    <a:gd name="connsiteY3" fmla="*/ 6 h 600477"/>
                    <a:gd name="connsiteX4" fmla="*/ 205700 w 934847"/>
                    <a:gd name="connsiteY4" fmla="*/ 363336 h 600477"/>
                    <a:gd name="connsiteX5" fmla="*/ 108719 w 934847"/>
                    <a:gd name="connsiteY5" fmla="*/ 32442 h 600477"/>
                    <a:gd name="connsiteX0" fmla="*/ 108719 w 922877"/>
                    <a:gd name="connsiteY0" fmla="*/ 32442 h 600477"/>
                    <a:gd name="connsiteX1" fmla="*/ 899101 w 922877"/>
                    <a:gd name="connsiteY1" fmla="*/ 600477 h 600477"/>
                    <a:gd name="connsiteX2" fmla="*/ 767484 w 922877"/>
                    <a:gd name="connsiteY2" fmla="*/ 391046 h 600477"/>
                    <a:gd name="connsiteX3" fmla="*/ 672980 w 922877"/>
                    <a:gd name="connsiteY3" fmla="*/ 6 h 600477"/>
                    <a:gd name="connsiteX4" fmla="*/ 205700 w 922877"/>
                    <a:gd name="connsiteY4" fmla="*/ 363336 h 600477"/>
                    <a:gd name="connsiteX5" fmla="*/ 108719 w 922877"/>
                    <a:gd name="connsiteY5" fmla="*/ 32442 h 600477"/>
                    <a:gd name="connsiteX0" fmla="*/ 108719 w 940851"/>
                    <a:gd name="connsiteY0" fmla="*/ 32442 h 600477"/>
                    <a:gd name="connsiteX1" fmla="*/ 899101 w 940851"/>
                    <a:gd name="connsiteY1" fmla="*/ 600477 h 600477"/>
                    <a:gd name="connsiteX2" fmla="*/ 767484 w 940851"/>
                    <a:gd name="connsiteY2" fmla="*/ 391046 h 600477"/>
                    <a:gd name="connsiteX3" fmla="*/ 672980 w 940851"/>
                    <a:gd name="connsiteY3" fmla="*/ 6 h 600477"/>
                    <a:gd name="connsiteX4" fmla="*/ 205700 w 940851"/>
                    <a:gd name="connsiteY4" fmla="*/ 363336 h 600477"/>
                    <a:gd name="connsiteX5" fmla="*/ 108719 w 940851"/>
                    <a:gd name="connsiteY5" fmla="*/ 32442 h 600477"/>
                    <a:gd name="connsiteX0" fmla="*/ 108719 w 942823"/>
                    <a:gd name="connsiteY0" fmla="*/ 35699 h 603734"/>
                    <a:gd name="connsiteX1" fmla="*/ 899101 w 942823"/>
                    <a:gd name="connsiteY1" fmla="*/ 603734 h 603734"/>
                    <a:gd name="connsiteX2" fmla="*/ 767484 w 942823"/>
                    <a:gd name="connsiteY2" fmla="*/ 394303 h 603734"/>
                    <a:gd name="connsiteX3" fmla="*/ 672980 w 942823"/>
                    <a:gd name="connsiteY3" fmla="*/ 3263 h 603734"/>
                    <a:gd name="connsiteX4" fmla="*/ 205700 w 942823"/>
                    <a:gd name="connsiteY4" fmla="*/ 366593 h 603734"/>
                    <a:gd name="connsiteX5" fmla="*/ 108719 w 942823"/>
                    <a:gd name="connsiteY5" fmla="*/ 35699 h 603734"/>
                    <a:gd name="connsiteX0" fmla="*/ 108719 w 942823"/>
                    <a:gd name="connsiteY0" fmla="*/ 35699 h 603734"/>
                    <a:gd name="connsiteX1" fmla="*/ 899101 w 942823"/>
                    <a:gd name="connsiteY1" fmla="*/ 603734 h 603734"/>
                    <a:gd name="connsiteX2" fmla="*/ 767484 w 942823"/>
                    <a:gd name="connsiteY2" fmla="*/ 394303 h 603734"/>
                    <a:gd name="connsiteX3" fmla="*/ 672980 w 942823"/>
                    <a:gd name="connsiteY3" fmla="*/ 3263 h 603734"/>
                    <a:gd name="connsiteX4" fmla="*/ 205700 w 942823"/>
                    <a:gd name="connsiteY4" fmla="*/ 366593 h 603734"/>
                    <a:gd name="connsiteX5" fmla="*/ 108719 w 942823"/>
                    <a:gd name="connsiteY5" fmla="*/ 35699 h 603734"/>
                    <a:gd name="connsiteX0" fmla="*/ 108719 w 942823"/>
                    <a:gd name="connsiteY0" fmla="*/ 35699 h 394303"/>
                    <a:gd name="connsiteX1" fmla="*/ 635865 w 942823"/>
                    <a:gd name="connsiteY1" fmla="*/ 354352 h 394303"/>
                    <a:gd name="connsiteX2" fmla="*/ 767484 w 942823"/>
                    <a:gd name="connsiteY2" fmla="*/ 394303 h 394303"/>
                    <a:gd name="connsiteX3" fmla="*/ 672980 w 942823"/>
                    <a:gd name="connsiteY3" fmla="*/ 3263 h 394303"/>
                    <a:gd name="connsiteX4" fmla="*/ 205700 w 942823"/>
                    <a:gd name="connsiteY4" fmla="*/ 366593 h 394303"/>
                    <a:gd name="connsiteX5" fmla="*/ 108719 w 942823"/>
                    <a:gd name="connsiteY5" fmla="*/ 35699 h 394303"/>
                    <a:gd name="connsiteX0" fmla="*/ 108719 w 942823"/>
                    <a:gd name="connsiteY0" fmla="*/ 35699 h 394303"/>
                    <a:gd name="connsiteX1" fmla="*/ 714545 w 942823"/>
                    <a:gd name="connsiteY1" fmla="*/ 30975 h 394303"/>
                    <a:gd name="connsiteX2" fmla="*/ 635865 w 942823"/>
                    <a:gd name="connsiteY2" fmla="*/ 354352 h 394303"/>
                    <a:gd name="connsiteX3" fmla="*/ 767484 w 942823"/>
                    <a:gd name="connsiteY3" fmla="*/ 394303 h 394303"/>
                    <a:gd name="connsiteX4" fmla="*/ 672980 w 942823"/>
                    <a:gd name="connsiteY4" fmla="*/ 3263 h 394303"/>
                    <a:gd name="connsiteX5" fmla="*/ 205700 w 942823"/>
                    <a:gd name="connsiteY5" fmla="*/ 366593 h 394303"/>
                    <a:gd name="connsiteX6" fmla="*/ 108719 w 942823"/>
                    <a:gd name="connsiteY6" fmla="*/ 35699 h 394303"/>
                    <a:gd name="connsiteX0" fmla="*/ 108719 w 942823"/>
                    <a:gd name="connsiteY0" fmla="*/ 35699 h 394303"/>
                    <a:gd name="connsiteX1" fmla="*/ 714545 w 942823"/>
                    <a:gd name="connsiteY1" fmla="*/ 30975 h 394303"/>
                    <a:gd name="connsiteX2" fmla="*/ 635865 w 942823"/>
                    <a:gd name="connsiteY2" fmla="*/ 354352 h 394303"/>
                    <a:gd name="connsiteX3" fmla="*/ 767484 w 942823"/>
                    <a:gd name="connsiteY3" fmla="*/ 394303 h 394303"/>
                    <a:gd name="connsiteX4" fmla="*/ 672980 w 942823"/>
                    <a:gd name="connsiteY4" fmla="*/ 3263 h 394303"/>
                    <a:gd name="connsiteX5" fmla="*/ 205700 w 942823"/>
                    <a:gd name="connsiteY5" fmla="*/ 366593 h 394303"/>
                    <a:gd name="connsiteX6" fmla="*/ 108719 w 942823"/>
                    <a:gd name="connsiteY6" fmla="*/ 35699 h 394303"/>
                    <a:gd name="connsiteX0" fmla="*/ 108719 w 942823"/>
                    <a:gd name="connsiteY0" fmla="*/ 35699 h 394303"/>
                    <a:gd name="connsiteX1" fmla="*/ 714545 w 942823"/>
                    <a:gd name="connsiteY1" fmla="*/ 30975 h 394303"/>
                    <a:gd name="connsiteX2" fmla="*/ 635865 w 942823"/>
                    <a:gd name="connsiteY2" fmla="*/ 354352 h 394303"/>
                    <a:gd name="connsiteX3" fmla="*/ 767484 w 942823"/>
                    <a:gd name="connsiteY3" fmla="*/ 394303 h 394303"/>
                    <a:gd name="connsiteX4" fmla="*/ 672980 w 942823"/>
                    <a:gd name="connsiteY4" fmla="*/ 3263 h 394303"/>
                    <a:gd name="connsiteX5" fmla="*/ 205700 w 942823"/>
                    <a:gd name="connsiteY5" fmla="*/ 366593 h 394303"/>
                    <a:gd name="connsiteX6" fmla="*/ 108719 w 942823"/>
                    <a:gd name="connsiteY6" fmla="*/ 35699 h 394303"/>
                    <a:gd name="connsiteX0" fmla="*/ 108719 w 942823"/>
                    <a:gd name="connsiteY0" fmla="*/ 35699 h 394303"/>
                    <a:gd name="connsiteX1" fmla="*/ 714545 w 942823"/>
                    <a:gd name="connsiteY1" fmla="*/ 30975 h 394303"/>
                    <a:gd name="connsiteX2" fmla="*/ 635865 w 942823"/>
                    <a:gd name="connsiteY2" fmla="*/ 354352 h 394303"/>
                    <a:gd name="connsiteX3" fmla="*/ 767484 w 942823"/>
                    <a:gd name="connsiteY3" fmla="*/ 394303 h 394303"/>
                    <a:gd name="connsiteX4" fmla="*/ 672980 w 942823"/>
                    <a:gd name="connsiteY4" fmla="*/ 3263 h 394303"/>
                    <a:gd name="connsiteX5" fmla="*/ 205700 w 942823"/>
                    <a:gd name="connsiteY5" fmla="*/ 366593 h 394303"/>
                    <a:gd name="connsiteX6" fmla="*/ 108719 w 942823"/>
                    <a:gd name="connsiteY6" fmla="*/ 35699 h 394303"/>
                    <a:gd name="connsiteX0" fmla="*/ 108719 w 942823"/>
                    <a:gd name="connsiteY0" fmla="*/ 35699 h 394303"/>
                    <a:gd name="connsiteX1" fmla="*/ 714545 w 942823"/>
                    <a:gd name="connsiteY1" fmla="*/ 30975 h 394303"/>
                    <a:gd name="connsiteX2" fmla="*/ 635865 w 942823"/>
                    <a:gd name="connsiteY2" fmla="*/ 354352 h 394303"/>
                    <a:gd name="connsiteX3" fmla="*/ 767484 w 942823"/>
                    <a:gd name="connsiteY3" fmla="*/ 394303 h 394303"/>
                    <a:gd name="connsiteX4" fmla="*/ 672980 w 942823"/>
                    <a:gd name="connsiteY4" fmla="*/ 3263 h 394303"/>
                    <a:gd name="connsiteX5" fmla="*/ 205700 w 942823"/>
                    <a:gd name="connsiteY5" fmla="*/ 366593 h 394303"/>
                    <a:gd name="connsiteX6" fmla="*/ 108719 w 942823"/>
                    <a:gd name="connsiteY6" fmla="*/ 35699 h 394303"/>
                    <a:gd name="connsiteX0" fmla="*/ 108719 w 942823"/>
                    <a:gd name="connsiteY0" fmla="*/ 35699 h 394303"/>
                    <a:gd name="connsiteX1" fmla="*/ 714545 w 942823"/>
                    <a:gd name="connsiteY1" fmla="*/ 30975 h 394303"/>
                    <a:gd name="connsiteX2" fmla="*/ 635865 w 942823"/>
                    <a:gd name="connsiteY2" fmla="*/ 354352 h 394303"/>
                    <a:gd name="connsiteX3" fmla="*/ 767484 w 942823"/>
                    <a:gd name="connsiteY3" fmla="*/ 394303 h 394303"/>
                    <a:gd name="connsiteX4" fmla="*/ 672980 w 942823"/>
                    <a:gd name="connsiteY4" fmla="*/ 3263 h 394303"/>
                    <a:gd name="connsiteX5" fmla="*/ 205700 w 942823"/>
                    <a:gd name="connsiteY5" fmla="*/ 366593 h 394303"/>
                    <a:gd name="connsiteX6" fmla="*/ 108719 w 942823"/>
                    <a:gd name="connsiteY6" fmla="*/ 35699 h 394303"/>
                    <a:gd name="connsiteX0" fmla="*/ 108719 w 942823"/>
                    <a:gd name="connsiteY0" fmla="*/ 35699 h 394303"/>
                    <a:gd name="connsiteX1" fmla="*/ 243490 w 942823"/>
                    <a:gd name="connsiteY1" fmla="*/ 391193 h 394303"/>
                    <a:gd name="connsiteX2" fmla="*/ 714545 w 942823"/>
                    <a:gd name="connsiteY2" fmla="*/ 30975 h 394303"/>
                    <a:gd name="connsiteX3" fmla="*/ 635865 w 942823"/>
                    <a:gd name="connsiteY3" fmla="*/ 354352 h 394303"/>
                    <a:gd name="connsiteX4" fmla="*/ 767484 w 942823"/>
                    <a:gd name="connsiteY4" fmla="*/ 394303 h 394303"/>
                    <a:gd name="connsiteX5" fmla="*/ 672980 w 942823"/>
                    <a:gd name="connsiteY5" fmla="*/ 3263 h 394303"/>
                    <a:gd name="connsiteX6" fmla="*/ 205700 w 942823"/>
                    <a:gd name="connsiteY6" fmla="*/ 366593 h 394303"/>
                    <a:gd name="connsiteX7" fmla="*/ 108719 w 942823"/>
                    <a:gd name="connsiteY7" fmla="*/ 35699 h 394303"/>
                    <a:gd name="connsiteX0" fmla="*/ 108719 w 942823"/>
                    <a:gd name="connsiteY0" fmla="*/ 35699 h 394303"/>
                    <a:gd name="connsiteX1" fmla="*/ 243490 w 942823"/>
                    <a:gd name="connsiteY1" fmla="*/ 391193 h 394303"/>
                    <a:gd name="connsiteX2" fmla="*/ 714545 w 942823"/>
                    <a:gd name="connsiteY2" fmla="*/ 30975 h 394303"/>
                    <a:gd name="connsiteX3" fmla="*/ 635865 w 942823"/>
                    <a:gd name="connsiteY3" fmla="*/ 354352 h 394303"/>
                    <a:gd name="connsiteX4" fmla="*/ 767484 w 942823"/>
                    <a:gd name="connsiteY4" fmla="*/ 394303 h 394303"/>
                    <a:gd name="connsiteX5" fmla="*/ 672980 w 942823"/>
                    <a:gd name="connsiteY5" fmla="*/ 3263 h 394303"/>
                    <a:gd name="connsiteX6" fmla="*/ 205700 w 942823"/>
                    <a:gd name="connsiteY6" fmla="*/ 366593 h 394303"/>
                    <a:gd name="connsiteX7" fmla="*/ 108719 w 942823"/>
                    <a:gd name="connsiteY7" fmla="*/ 35699 h 394303"/>
                    <a:gd name="connsiteX0" fmla="*/ 108719 w 942823"/>
                    <a:gd name="connsiteY0" fmla="*/ 35699 h 394303"/>
                    <a:gd name="connsiteX1" fmla="*/ 243490 w 942823"/>
                    <a:gd name="connsiteY1" fmla="*/ 391193 h 394303"/>
                    <a:gd name="connsiteX2" fmla="*/ 714545 w 942823"/>
                    <a:gd name="connsiteY2" fmla="*/ 30975 h 394303"/>
                    <a:gd name="connsiteX3" fmla="*/ 635865 w 942823"/>
                    <a:gd name="connsiteY3" fmla="*/ 354352 h 394303"/>
                    <a:gd name="connsiteX4" fmla="*/ 767484 w 942823"/>
                    <a:gd name="connsiteY4" fmla="*/ 394303 h 394303"/>
                    <a:gd name="connsiteX5" fmla="*/ 672980 w 942823"/>
                    <a:gd name="connsiteY5" fmla="*/ 3263 h 394303"/>
                    <a:gd name="connsiteX6" fmla="*/ 205700 w 942823"/>
                    <a:gd name="connsiteY6" fmla="*/ 366593 h 394303"/>
                    <a:gd name="connsiteX7" fmla="*/ 108719 w 942823"/>
                    <a:gd name="connsiteY7" fmla="*/ 35699 h 394303"/>
                    <a:gd name="connsiteX0" fmla="*/ 108719 w 942823"/>
                    <a:gd name="connsiteY0" fmla="*/ 35699 h 394303"/>
                    <a:gd name="connsiteX1" fmla="*/ 243490 w 942823"/>
                    <a:gd name="connsiteY1" fmla="*/ 391193 h 394303"/>
                    <a:gd name="connsiteX2" fmla="*/ 714545 w 942823"/>
                    <a:gd name="connsiteY2" fmla="*/ 30975 h 394303"/>
                    <a:gd name="connsiteX3" fmla="*/ 635865 w 942823"/>
                    <a:gd name="connsiteY3" fmla="*/ 354352 h 394303"/>
                    <a:gd name="connsiteX4" fmla="*/ 767484 w 942823"/>
                    <a:gd name="connsiteY4" fmla="*/ 394303 h 394303"/>
                    <a:gd name="connsiteX5" fmla="*/ 672980 w 942823"/>
                    <a:gd name="connsiteY5" fmla="*/ 3263 h 394303"/>
                    <a:gd name="connsiteX6" fmla="*/ 205700 w 942823"/>
                    <a:gd name="connsiteY6" fmla="*/ 366593 h 394303"/>
                    <a:gd name="connsiteX7" fmla="*/ 108719 w 942823"/>
                    <a:gd name="connsiteY7" fmla="*/ 35699 h 394303"/>
                    <a:gd name="connsiteX0" fmla="*/ 108719 w 942823"/>
                    <a:gd name="connsiteY0" fmla="*/ 35699 h 394303"/>
                    <a:gd name="connsiteX1" fmla="*/ 243490 w 942823"/>
                    <a:gd name="connsiteY1" fmla="*/ 391193 h 394303"/>
                    <a:gd name="connsiteX2" fmla="*/ 714545 w 942823"/>
                    <a:gd name="connsiteY2" fmla="*/ 30975 h 394303"/>
                    <a:gd name="connsiteX3" fmla="*/ 635865 w 942823"/>
                    <a:gd name="connsiteY3" fmla="*/ 354352 h 394303"/>
                    <a:gd name="connsiteX4" fmla="*/ 767484 w 942823"/>
                    <a:gd name="connsiteY4" fmla="*/ 394303 h 394303"/>
                    <a:gd name="connsiteX5" fmla="*/ 672980 w 942823"/>
                    <a:gd name="connsiteY5" fmla="*/ 3263 h 394303"/>
                    <a:gd name="connsiteX6" fmla="*/ 205700 w 942823"/>
                    <a:gd name="connsiteY6" fmla="*/ 366593 h 394303"/>
                    <a:gd name="connsiteX7" fmla="*/ 108719 w 942823"/>
                    <a:gd name="connsiteY7" fmla="*/ 35699 h 394303"/>
                    <a:gd name="connsiteX0" fmla="*/ 99206 w 933310"/>
                    <a:gd name="connsiteY0" fmla="*/ 35699 h 394303"/>
                    <a:gd name="connsiteX1" fmla="*/ 233977 w 933310"/>
                    <a:gd name="connsiteY1" fmla="*/ 391193 h 394303"/>
                    <a:gd name="connsiteX2" fmla="*/ 705032 w 933310"/>
                    <a:gd name="connsiteY2" fmla="*/ 30975 h 394303"/>
                    <a:gd name="connsiteX3" fmla="*/ 626352 w 933310"/>
                    <a:gd name="connsiteY3" fmla="*/ 354352 h 394303"/>
                    <a:gd name="connsiteX4" fmla="*/ 757971 w 933310"/>
                    <a:gd name="connsiteY4" fmla="*/ 394303 h 394303"/>
                    <a:gd name="connsiteX5" fmla="*/ 663467 w 933310"/>
                    <a:gd name="connsiteY5" fmla="*/ 3263 h 394303"/>
                    <a:gd name="connsiteX6" fmla="*/ 223896 w 933310"/>
                    <a:gd name="connsiteY6" fmla="*/ 338883 h 394303"/>
                    <a:gd name="connsiteX7" fmla="*/ 99206 w 933310"/>
                    <a:gd name="connsiteY7" fmla="*/ 35699 h 394303"/>
                    <a:gd name="connsiteX0" fmla="*/ 111296 w 945400"/>
                    <a:gd name="connsiteY0" fmla="*/ 35699 h 394303"/>
                    <a:gd name="connsiteX1" fmla="*/ 246067 w 945400"/>
                    <a:gd name="connsiteY1" fmla="*/ 391193 h 394303"/>
                    <a:gd name="connsiteX2" fmla="*/ 717122 w 945400"/>
                    <a:gd name="connsiteY2" fmla="*/ 30975 h 394303"/>
                    <a:gd name="connsiteX3" fmla="*/ 638442 w 945400"/>
                    <a:gd name="connsiteY3" fmla="*/ 354352 h 394303"/>
                    <a:gd name="connsiteX4" fmla="*/ 770061 w 945400"/>
                    <a:gd name="connsiteY4" fmla="*/ 394303 h 394303"/>
                    <a:gd name="connsiteX5" fmla="*/ 675557 w 945400"/>
                    <a:gd name="connsiteY5" fmla="*/ 3263 h 394303"/>
                    <a:gd name="connsiteX6" fmla="*/ 201349 w 945400"/>
                    <a:gd name="connsiteY6" fmla="*/ 380446 h 394303"/>
                    <a:gd name="connsiteX7" fmla="*/ 111296 w 945400"/>
                    <a:gd name="connsiteY7" fmla="*/ 35699 h 394303"/>
                    <a:gd name="connsiteX0" fmla="*/ 111296 w 945400"/>
                    <a:gd name="connsiteY0" fmla="*/ 35699 h 394303"/>
                    <a:gd name="connsiteX1" fmla="*/ 232213 w 945400"/>
                    <a:gd name="connsiteY1" fmla="*/ 328847 h 394303"/>
                    <a:gd name="connsiteX2" fmla="*/ 717122 w 945400"/>
                    <a:gd name="connsiteY2" fmla="*/ 30975 h 394303"/>
                    <a:gd name="connsiteX3" fmla="*/ 638442 w 945400"/>
                    <a:gd name="connsiteY3" fmla="*/ 354352 h 394303"/>
                    <a:gd name="connsiteX4" fmla="*/ 770061 w 945400"/>
                    <a:gd name="connsiteY4" fmla="*/ 394303 h 394303"/>
                    <a:gd name="connsiteX5" fmla="*/ 675557 w 945400"/>
                    <a:gd name="connsiteY5" fmla="*/ 3263 h 394303"/>
                    <a:gd name="connsiteX6" fmla="*/ 201349 w 945400"/>
                    <a:gd name="connsiteY6" fmla="*/ 380446 h 394303"/>
                    <a:gd name="connsiteX7" fmla="*/ 111296 w 945400"/>
                    <a:gd name="connsiteY7" fmla="*/ 35699 h 394303"/>
                    <a:gd name="connsiteX0" fmla="*/ 111296 w 945400"/>
                    <a:gd name="connsiteY0" fmla="*/ 35699 h 394303"/>
                    <a:gd name="connsiteX1" fmla="*/ 232213 w 945400"/>
                    <a:gd name="connsiteY1" fmla="*/ 328847 h 394303"/>
                    <a:gd name="connsiteX2" fmla="*/ 717122 w 945400"/>
                    <a:gd name="connsiteY2" fmla="*/ 30975 h 394303"/>
                    <a:gd name="connsiteX3" fmla="*/ 638442 w 945400"/>
                    <a:gd name="connsiteY3" fmla="*/ 354352 h 394303"/>
                    <a:gd name="connsiteX4" fmla="*/ 770061 w 945400"/>
                    <a:gd name="connsiteY4" fmla="*/ 394303 h 394303"/>
                    <a:gd name="connsiteX5" fmla="*/ 675557 w 945400"/>
                    <a:gd name="connsiteY5" fmla="*/ 3263 h 394303"/>
                    <a:gd name="connsiteX6" fmla="*/ 201349 w 945400"/>
                    <a:gd name="connsiteY6" fmla="*/ 380446 h 394303"/>
                    <a:gd name="connsiteX7" fmla="*/ 111296 w 945400"/>
                    <a:gd name="connsiteY7" fmla="*/ 35699 h 394303"/>
                    <a:gd name="connsiteX0" fmla="*/ 94898 w 929002"/>
                    <a:gd name="connsiteY0" fmla="*/ 35699 h 394303"/>
                    <a:gd name="connsiteX1" fmla="*/ 215815 w 929002"/>
                    <a:gd name="connsiteY1" fmla="*/ 328847 h 394303"/>
                    <a:gd name="connsiteX2" fmla="*/ 700724 w 929002"/>
                    <a:gd name="connsiteY2" fmla="*/ 30975 h 394303"/>
                    <a:gd name="connsiteX3" fmla="*/ 622044 w 929002"/>
                    <a:gd name="connsiteY3" fmla="*/ 354352 h 394303"/>
                    <a:gd name="connsiteX4" fmla="*/ 753663 w 929002"/>
                    <a:gd name="connsiteY4" fmla="*/ 394303 h 394303"/>
                    <a:gd name="connsiteX5" fmla="*/ 659159 w 929002"/>
                    <a:gd name="connsiteY5" fmla="*/ 3263 h 394303"/>
                    <a:gd name="connsiteX6" fmla="*/ 233442 w 929002"/>
                    <a:gd name="connsiteY6" fmla="*/ 380446 h 394303"/>
                    <a:gd name="connsiteX7" fmla="*/ 94898 w 929002"/>
                    <a:gd name="connsiteY7" fmla="*/ 35699 h 394303"/>
                    <a:gd name="connsiteX0" fmla="*/ 98467 w 932571"/>
                    <a:gd name="connsiteY0" fmla="*/ 35699 h 394303"/>
                    <a:gd name="connsiteX1" fmla="*/ 219384 w 932571"/>
                    <a:gd name="connsiteY1" fmla="*/ 328847 h 394303"/>
                    <a:gd name="connsiteX2" fmla="*/ 704293 w 932571"/>
                    <a:gd name="connsiteY2" fmla="*/ 30975 h 394303"/>
                    <a:gd name="connsiteX3" fmla="*/ 625613 w 932571"/>
                    <a:gd name="connsiteY3" fmla="*/ 354352 h 394303"/>
                    <a:gd name="connsiteX4" fmla="*/ 757232 w 932571"/>
                    <a:gd name="connsiteY4" fmla="*/ 394303 h 394303"/>
                    <a:gd name="connsiteX5" fmla="*/ 662728 w 932571"/>
                    <a:gd name="connsiteY5" fmla="*/ 3263 h 394303"/>
                    <a:gd name="connsiteX6" fmla="*/ 237011 w 932571"/>
                    <a:gd name="connsiteY6" fmla="*/ 380446 h 394303"/>
                    <a:gd name="connsiteX7" fmla="*/ 98467 w 932571"/>
                    <a:gd name="connsiteY7" fmla="*/ 35699 h 394303"/>
                    <a:gd name="connsiteX0" fmla="*/ 105342 w 939446"/>
                    <a:gd name="connsiteY0" fmla="*/ 35699 h 394303"/>
                    <a:gd name="connsiteX1" fmla="*/ 226259 w 939446"/>
                    <a:gd name="connsiteY1" fmla="*/ 328847 h 394303"/>
                    <a:gd name="connsiteX2" fmla="*/ 711168 w 939446"/>
                    <a:gd name="connsiteY2" fmla="*/ 30975 h 394303"/>
                    <a:gd name="connsiteX3" fmla="*/ 632488 w 939446"/>
                    <a:gd name="connsiteY3" fmla="*/ 354352 h 394303"/>
                    <a:gd name="connsiteX4" fmla="*/ 764107 w 939446"/>
                    <a:gd name="connsiteY4" fmla="*/ 394303 h 394303"/>
                    <a:gd name="connsiteX5" fmla="*/ 669603 w 939446"/>
                    <a:gd name="connsiteY5" fmla="*/ 3263 h 394303"/>
                    <a:gd name="connsiteX6" fmla="*/ 223105 w 939446"/>
                    <a:gd name="connsiteY6" fmla="*/ 352737 h 394303"/>
                    <a:gd name="connsiteX7" fmla="*/ 105342 w 939446"/>
                    <a:gd name="connsiteY7" fmla="*/ 35699 h 394303"/>
                    <a:gd name="connsiteX0" fmla="*/ 105342 w 939446"/>
                    <a:gd name="connsiteY0" fmla="*/ 35699 h 403258"/>
                    <a:gd name="connsiteX1" fmla="*/ 198550 w 939446"/>
                    <a:gd name="connsiteY1" fmla="*/ 363484 h 403258"/>
                    <a:gd name="connsiteX2" fmla="*/ 711168 w 939446"/>
                    <a:gd name="connsiteY2" fmla="*/ 30975 h 403258"/>
                    <a:gd name="connsiteX3" fmla="*/ 632488 w 939446"/>
                    <a:gd name="connsiteY3" fmla="*/ 354352 h 403258"/>
                    <a:gd name="connsiteX4" fmla="*/ 764107 w 939446"/>
                    <a:gd name="connsiteY4" fmla="*/ 394303 h 403258"/>
                    <a:gd name="connsiteX5" fmla="*/ 669603 w 939446"/>
                    <a:gd name="connsiteY5" fmla="*/ 3263 h 403258"/>
                    <a:gd name="connsiteX6" fmla="*/ 223105 w 939446"/>
                    <a:gd name="connsiteY6" fmla="*/ 352737 h 403258"/>
                    <a:gd name="connsiteX7" fmla="*/ 105342 w 939446"/>
                    <a:gd name="connsiteY7" fmla="*/ 35699 h 403258"/>
                    <a:gd name="connsiteX0" fmla="*/ 105342 w 939446"/>
                    <a:gd name="connsiteY0" fmla="*/ 35699 h 394303"/>
                    <a:gd name="connsiteX1" fmla="*/ 198550 w 939446"/>
                    <a:gd name="connsiteY1" fmla="*/ 363484 h 394303"/>
                    <a:gd name="connsiteX2" fmla="*/ 711168 w 939446"/>
                    <a:gd name="connsiteY2" fmla="*/ 30975 h 394303"/>
                    <a:gd name="connsiteX3" fmla="*/ 632488 w 939446"/>
                    <a:gd name="connsiteY3" fmla="*/ 354352 h 394303"/>
                    <a:gd name="connsiteX4" fmla="*/ 764107 w 939446"/>
                    <a:gd name="connsiteY4" fmla="*/ 394303 h 394303"/>
                    <a:gd name="connsiteX5" fmla="*/ 669603 w 939446"/>
                    <a:gd name="connsiteY5" fmla="*/ 3263 h 394303"/>
                    <a:gd name="connsiteX6" fmla="*/ 223105 w 939446"/>
                    <a:gd name="connsiteY6" fmla="*/ 352737 h 394303"/>
                    <a:gd name="connsiteX7" fmla="*/ 105342 w 939446"/>
                    <a:gd name="connsiteY7" fmla="*/ 35699 h 394303"/>
                    <a:gd name="connsiteX0" fmla="*/ 105342 w 939446"/>
                    <a:gd name="connsiteY0" fmla="*/ 35699 h 394303"/>
                    <a:gd name="connsiteX1" fmla="*/ 198550 w 939446"/>
                    <a:gd name="connsiteY1" fmla="*/ 363484 h 394303"/>
                    <a:gd name="connsiteX2" fmla="*/ 711168 w 939446"/>
                    <a:gd name="connsiteY2" fmla="*/ 30975 h 394303"/>
                    <a:gd name="connsiteX3" fmla="*/ 632488 w 939446"/>
                    <a:gd name="connsiteY3" fmla="*/ 354352 h 394303"/>
                    <a:gd name="connsiteX4" fmla="*/ 764107 w 939446"/>
                    <a:gd name="connsiteY4" fmla="*/ 394303 h 394303"/>
                    <a:gd name="connsiteX5" fmla="*/ 669603 w 939446"/>
                    <a:gd name="connsiteY5" fmla="*/ 3263 h 394303"/>
                    <a:gd name="connsiteX6" fmla="*/ 223105 w 939446"/>
                    <a:gd name="connsiteY6" fmla="*/ 352737 h 394303"/>
                    <a:gd name="connsiteX7" fmla="*/ 105342 w 939446"/>
                    <a:gd name="connsiteY7" fmla="*/ 35699 h 394303"/>
                    <a:gd name="connsiteX0" fmla="*/ 105342 w 939446"/>
                    <a:gd name="connsiteY0" fmla="*/ 35699 h 394303"/>
                    <a:gd name="connsiteX1" fmla="*/ 170841 w 939446"/>
                    <a:gd name="connsiteY1" fmla="*/ 37902 h 394303"/>
                    <a:gd name="connsiteX2" fmla="*/ 198550 w 939446"/>
                    <a:gd name="connsiteY2" fmla="*/ 363484 h 394303"/>
                    <a:gd name="connsiteX3" fmla="*/ 711168 w 939446"/>
                    <a:gd name="connsiteY3" fmla="*/ 30975 h 394303"/>
                    <a:gd name="connsiteX4" fmla="*/ 632488 w 939446"/>
                    <a:gd name="connsiteY4" fmla="*/ 354352 h 394303"/>
                    <a:gd name="connsiteX5" fmla="*/ 764107 w 939446"/>
                    <a:gd name="connsiteY5" fmla="*/ 394303 h 394303"/>
                    <a:gd name="connsiteX6" fmla="*/ 669603 w 939446"/>
                    <a:gd name="connsiteY6" fmla="*/ 3263 h 394303"/>
                    <a:gd name="connsiteX7" fmla="*/ 223105 w 939446"/>
                    <a:gd name="connsiteY7" fmla="*/ 352737 h 394303"/>
                    <a:gd name="connsiteX8" fmla="*/ 105342 w 939446"/>
                    <a:gd name="connsiteY8" fmla="*/ 35699 h 394303"/>
                    <a:gd name="connsiteX0" fmla="*/ 105342 w 939446"/>
                    <a:gd name="connsiteY0" fmla="*/ 35699 h 394303"/>
                    <a:gd name="connsiteX1" fmla="*/ 170841 w 939446"/>
                    <a:gd name="connsiteY1" fmla="*/ 37902 h 394303"/>
                    <a:gd name="connsiteX2" fmla="*/ 198550 w 939446"/>
                    <a:gd name="connsiteY2" fmla="*/ 363484 h 394303"/>
                    <a:gd name="connsiteX3" fmla="*/ 711168 w 939446"/>
                    <a:gd name="connsiteY3" fmla="*/ 30975 h 394303"/>
                    <a:gd name="connsiteX4" fmla="*/ 632488 w 939446"/>
                    <a:gd name="connsiteY4" fmla="*/ 354352 h 394303"/>
                    <a:gd name="connsiteX5" fmla="*/ 764107 w 939446"/>
                    <a:gd name="connsiteY5" fmla="*/ 394303 h 394303"/>
                    <a:gd name="connsiteX6" fmla="*/ 669603 w 939446"/>
                    <a:gd name="connsiteY6" fmla="*/ 3263 h 394303"/>
                    <a:gd name="connsiteX7" fmla="*/ 223105 w 939446"/>
                    <a:gd name="connsiteY7" fmla="*/ 352737 h 394303"/>
                    <a:gd name="connsiteX8" fmla="*/ 105342 w 939446"/>
                    <a:gd name="connsiteY8" fmla="*/ 35699 h 394303"/>
                    <a:gd name="connsiteX0" fmla="*/ 105342 w 939446"/>
                    <a:gd name="connsiteY0" fmla="*/ 35699 h 394303"/>
                    <a:gd name="connsiteX1" fmla="*/ 170841 w 939446"/>
                    <a:gd name="connsiteY1" fmla="*/ 37902 h 394303"/>
                    <a:gd name="connsiteX2" fmla="*/ 198550 w 939446"/>
                    <a:gd name="connsiteY2" fmla="*/ 363484 h 394303"/>
                    <a:gd name="connsiteX3" fmla="*/ 711168 w 939446"/>
                    <a:gd name="connsiteY3" fmla="*/ 30975 h 394303"/>
                    <a:gd name="connsiteX4" fmla="*/ 632488 w 939446"/>
                    <a:gd name="connsiteY4" fmla="*/ 354352 h 394303"/>
                    <a:gd name="connsiteX5" fmla="*/ 764107 w 939446"/>
                    <a:gd name="connsiteY5" fmla="*/ 394303 h 394303"/>
                    <a:gd name="connsiteX6" fmla="*/ 669603 w 939446"/>
                    <a:gd name="connsiteY6" fmla="*/ 3263 h 394303"/>
                    <a:gd name="connsiteX7" fmla="*/ 223105 w 939446"/>
                    <a:gd name="connsiteY7" fmla="*/ 352737 h 394303"/>
                    <a:gd name="connsiteX8" fmla="*/ 105342 w 939446"/>
                    <a:gd name="connsiteY8" fmla="*/ 35699 h 394303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198550 w 930539"/>
                    <a:gd name="connsiteY2" fmla="*/ 363341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52594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229723 w 930539"/>
                    <a:gd name="connsiteY2" fmla="*/ 318314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52594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229723 w 930539"/>
                    <a:gd name="connsiteY2" fmla="*/ 318314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45666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181232 w 930539"/>
                    <a:gd name="connsiteY2" fmla="*/ 352951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45666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229723 w 930539"/>
                    <a:gd name="connsiteY2" fmla="*/ 370269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45666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229723 w 930539"/>
                    <a:gd name="connsiteY2" fmla="*/ 370269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45666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229723 w 930539"/>
                    <a:gd name="connsiteY2" fmla="*/ 370269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45666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229723 w 930539"/>
                    <a:gd name="connsiteY2" fmla="*/ 370269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45666 h 408015"/>
                    <a:gd name="connsiteX8" fmla="*/ 105342 w 930539"/>
                    <a:gd name="connsiteY8" fmla="*/ 35556 h 408015"/>
                    <a:gd name="connsiteX0" fmla="*/ 111595 w 936792"/>
                    <a:gd name="connsiteY0" fmla="*/ 35556 h 408015"/>
                    <a:gd name="connsiteX1" fmla="*/ 177094 w 936792"/>
                    <a:gd name="connsiteY1" fmla="*/ 37759 h 408015"/>
                    <a:gd name="connsiteX2" fmla="*/ 235976 w 936792"/>
                    <a:gd name="connsiteY2" fmla="*/ 370269 h 408015"/>
                    <a:gd name="connsiteX3" fmla="*/ 717421 w 936792"/>
                    <a:gd name="connsiteY3" fmla="*/ 30832 h 408015"/>
                    <a:gd name="connsiteX4" fmla="*/ 638741 w 936792"/>
                    <a:gd name="connsiteY4" fmla="*/ 354209 h 408015"/>
                    <a:gd name="connsiteX5" fmla="*/ 756506 w 936792"/>
                    <a:gd name="connsiteY5" fmla="*/ 408015 h 408015"/>
                    <a:gd name="connsiteX6" fmla="*/ 675856 w 936792"/>
                    <a:gd name="connsiteY6" fmla="*/ 3120 h 408015"/>
                    <a:gd name="connsiteX7" fmla="*/ 212040 w 936792"/>
                    <a:gd name="connsiteY7" fmla="*/ 373375 h 408015"/>
                    <a:gd name="connsiteX8" fmla="*/ 111595 w 936792"/>
                    <a:gd name="connsiteY8" fmla="*/ 35556 h 408015"/>
                    <a:gd name="connsiteX0" fmla="*/ 104452 w 929649"/>
                    <a:gd name="connsiteY0" fmla="*/ 35556 h 408015"/>
                    <a:gd name="connsiteX1" fmla="*/ 169951 w 929649"/>
                    <a:gd name="connsiteY1" fmla="*/ 37759 h 408015"/>
                    <a:gd name="connsiteX2" fmla="*/ 228833 w 929649"/>
                    <a:gd name="connsiteY2" fmla="*/ 370269 h 408015"/>
                    <a:gd name="connsiteX3" fmla="*/ 710278 w 929649"/>
                    <a:gd name="connsiteY3" fmla="*/ 30832 h 408015"/>
                    <a:gd name="connsiteX4" fmla="*/ 631598 w 929649"/>
                    <a:gd name="connsiteY4" fmla="*/ 354209 h 408015"/>
                    <a:gd name="connsiteX5" fmla="*/ 749363 w 929649"/>
                    <a:gd name="connsiteY5" fmla="*/ 408015 h 408015"/>
                    <a:gd name="connsiteX6" fmla="*/ 668713 w 929649"/>
                    <a:gd name="connsiteY6" fmla="*/ 3120 h 408015"/>
                    <a:gd name="connsiteX7" fmla="*/ 204897 w 929649"/>
                    <a:gd name="connsiteY7" fmla="*/ 373375 h 408015"/>
                    <a:gd name="connsiteX8" fmla="*/ 104452 w 929649"/>
                    <a:gd name="connsiteY8" fmla="*/ 35556 h 408015"/>
                    <a:gd name="connsiteX0" fmla="*/ 110549 w 935746"/>
                    <a:gd name="connsiteY0" fmla="*/ 35556 h 408015"/>
                    <a:gd name="connsiteX1" fmla="*/ 176048 w 935746"/>
                    <a:gd name="connsiteY1" fmla="*/ 37759 h 408015"/>
                    <a:gd name="connsiteX2" fmla="*/ 234930 w 935746"/>
                    <a:gd name="connsiteY2" fmla="*/ 370269 h 408015"/>
                    <a:gd name="connsiteX3" fmla="*/ 716375 w 935746"/>
                    <a:gd name="connsiteY3" fmla="*/ 3083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76048 w 935746"/>
                    <a:gd name="connsiteY1" fmla="*/ 37759 h 408015"/>
                    <a:gd name="connsiteX2" fmla="*/ 234930 w 935746"/>
                    <a:gd name="connsiteY2" fmla="*/ 370269 h 408015"/>
                    <a:gd name="connsiteX3" fmla="*/ 716375 w 935746"/>
                    <a:gd name="connsiteY3" fmla="*/ 3083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76048 w 935746"/>
                    <a:gd name="connsiteY1" fmla="*/ 37759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48339 w 935746"/>
                    <a:gd name="connsiteY1" fmla="*/ 65468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48339 w 935746"/>
                    <a:gd name="connsiteY1" fmla="*/ 65468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48339 w 935746"/>
                    <a:gd name="connsiteY1" fmla="*/ 65468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48339 w 935746"/>
                    <a:gd name="connsiteY1" fmla="*/ 65468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48339 w 935746"/>
                    <a:gd name="connsiteY1" fmla="*/ 65468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48339 w 935746"/>
                    <a:gd name="connsiteY1" fmla="*/ 65468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31020 w 935746"/>
                    <a:gd name="connsiteY1" fmla="*/ 79322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72992 w 912044"/>
                    <a:gd name="connsiteY0" fmla="*/ 35556 h 408015"/>
                    <a:gd name="connsiteX1" fmla="*/ 107318 w 912044"/>
                    <a:gd name="connsiteY1" fmla="*/ 79322 h 408015"/>
                    <a:gd name="connsiteX2" fmla="*/ 211228 w 912044"/>
                    <a:gd name="connsiteY2" fmla="*/ 370269 h 408015"/>
                    <a:gd name="connsiteX3" fmla="*/ 696137 w 912044"/>
                    <a:gd name="connsiteY3" fmla="*/ 3122 h 408015"/>
                    <a:gd name="connsiteX4" fmla="*/ 613993 w 912044"/>
                    <a:gd name="connsiteY4" fmla="*/ 354209 h 408015"/>
                    <a:gd name="connsiteX5" fmla="*/ 731758 w 912044"/>
                    <a:gd name="connsiteY5" fmla="*/ 408015 h 408015"/>
                    <a:gd name="connsiteX6" fmla="*/ 651108 w 912044"/>
                    <a:gd name="connsiteY6" fmla="*/ 3120 h 408015"/>
                    <a:gd name="connsiteX7" fmla="*/ 187292 w 912044"/>
                    <a:gd name="connsiteY7" fmla="*/ 373375 h 408015"/>
                    <a:gd name="connsiteX8" fmla="*/ 72992 w 912044"/>
                    <a:gd name="connsiteY8" fmla="*/ 35556 h 408015"/>
                    <a:gd name="connsiteX0" fmla="*/ 95861 w 934913"/>
                    <a:gd name="connsiteY0" fmla="*/ 35556 h 408015"/>
                    <a:gd name="connsiteX1" fmla="*/ 130187 w 934913"/>
                    <a:gd name="connsiteY1" fmla="*/ 79322 h 408015"/>
                    <a:gd name="connsiteX2" fmla="*/ 234097 w 934913"/>
                    <a:gd name="connsiteY2" fmla="*/ 370269 h 408015"/>
                    <a:gd name="connsiteX3" fmla="*/ 719006 w 934913"/>
                    <a:gd name="connsiteY3" fmla="*/ 3122 h 408015"/>
                    <a:gd name="connsiteX4" fmla="*/ 636862 w 934913"/>
                    <a:gd name="connsiteY4" fmla="*/ 354209 h 408015"/>
                    <a:gd name="connsiteX5" fmla="*/ 754627 w 934913"/>
                    <a:gd name="connsiteY5" fmla="*/ 408015 h 408015"/>
                    <a:gd name="connsiteX6" fmla="*/ 673977 w 934913"/>
                    <a:gd name="connsiteY6" fmla="*/ 3120 h 408015"/>
                    <a:gd name="connsiteX7" fmla="*/ 210161 w 934913"/>
                    <a:gd name="connsiteY7" fmla="*/ 373375 h 408015"/>
                    <a:gd name="connsiteX8" fmla="*/ 95861 w 934913"/>
                    <a:gd name="connsiteY8" fmla="*/ 35556 h 408015"/>
                    <a:gd name="connsiteX0" fmla="*/ 128786 w 967838"/>
                    <a:gd name="connsiteY0" fmla="*/ 35556 h 408015"/>
                    <a:gd name="connsiteX1" fmla="*/ 163112 w 967838"/>
                    <a:gd name="connsiteY1" fmla="*/ 79322 h 408015"/>
                    <a:gd name="connsiteX2" fmla="*/ 267022 w 967838"/>
                    <a:gd name="connsiteY2" fmla="*/ 370269 h 408015"/>
                    <a:gd name="connsiteX3" fmla="*/ 751931 w 967838"/>
                    <a:gd name="connsiteY3" fmla="*/ 3122 h 408015"/>
                    <a:gd name="connsiteX4" fmla="*/ 669787 w 967838"/>
                    <a:gd name="connsiteY4" fmla="*/ 354209 h 408015"/>
                    <a:gd name="connsiteX5" fmla="*/ 787552 w 967838"/>
                    <a:gd name="connsiteY5" fmla="*/ 408015 h 408015"/>
                    <a:gd name="connsiteX6" fmla="*/ 706902 w 967838"/>
                    <a:gd name="connsiteY6" fmla="*/ 3120 h 408015"/>
                    <a:gd name="connsiteX7" fmla="*/ 243086 w 967838"/>
                    <a:gd name="connsiteY7" fmla="*/ 373375 h 408015"/>
                    <a:gd name="connsiteX8" fmla="*/ 128786 w 967838"/>
                    <a:gd name="connsiteY8" fmla="*/ 35556 h 408015"/>
                    <a:gd name="connsiteX0" fmla="*/ 100245 w 939297"/>
                    <a:gd name="connsiteY0" fmla="*/ 35556 h 408015"/>
                    <a:gd name="connsiteX1" fmla="*/ 134571 w 939297"/>
                    <a:gd name="connsiteY1" fmla="*/ 79322 h 408015"/>
                    <a:gd name="connsiteX2" fmla="*/ 238481 w 939297"/>
                    <a:gd name="connsiteY2" fmla="*/ 370269 h 408015"/>
                    <a:gd name="connsiteX3" fmla="*/ 723390 w 939297"/>
                    <a:gd name="connsiteY3" fmla="*/ 3122 h 408015"/>
                    <a:gd name="connsiteX4" fmla="*/ 641246 w 939297"/>
                    <a:gd name="connsiteY4" fmla="*/ 354209 h 408015"/>
                    <a:gd name="connsiteX5" fmla="*/ 759011 w 939297"/>
                    <a:gd name="connsiteY5" fmla="*/ 408015 h 408015"/>
                    <a:gd name="connsiteX6" fmla="*/ 678361 w 939297"/>
                    <a:gd name="connsiteY6" fmla="*/ 3120 h 408015"/>
                    <a:gd name="connsiteX7" fmla="*/ 214545 w 939297"/>
                    <a:gd name="connsiteY7" fmla="*/ 373375 h 408015"/>
                    <a:gd name="connsiteX8" fmla="*/ 100245 w 939297"/>
                    <a:gd name="connsiteY8" fmla="*/ 35556 h 408015"/>
                    <a:gd name="connsiteX0" fmla="*/ 100245 w 939297"/>
                    <a:gd name="connsiteY0" fmla="*/ 35556 h 408015"/>
                    <a:gd name="connsiteX1" fmla="*/ 106862 w 939297"/>
                    <a:gd name="connsiteY1" fmla="*/ 51613 h 408015"/>
                    <a:gd name="connsiteX2" fmla="*/ 238481 w 939297"/>
                    <a:gd name="connsiteY2" fmla="*/ 370269 h 408015"/>
                    <a:gd name="connsiteX3" fmla="*/ 723390 w 939297"/>
                    <a:gd name="connsiteY3" fmla="*/ 3122 h 408015"/>
                    <a:gd name="connsiteX4" fmla="*/ 641246 w 939297"/>
                    <a:gd name="connsiteY4" fmla="*/ 354209 h 408015"/>
                    <a:gd name="connsiteX5" fmla="*/ 759011 w 939297"/>
                    <a:gd name="connsiteY5" fmla="*/ 408015 h 408015"/>
                    <a:gd name="connsiteX6" fmla="*/ 678361 w 939297"/>
                    <a:gd name="connsiteY6" fmla="*/ 3120 h 408015"/>
                    <a:gd name="connsiteX7" fmla="*/ 214545 w 939297"/>
                    <a:gd name="connsiteY7" fmla="*/ 373375 h 408015"/>
                    <a:gd name="connsiteX8" fmla="*/ 100245 w 939297"/>
                    <a:gd name="connsiteY8" fmla="*/ 35556 h 408015"/>
                    <a:gd name="connsiteX0" fmla="*/ 100245 w 939297"/>
                    <a:gd name="connsiteY0" fmla="*/ 35556 h 408015"/>
                    <a:gd name="connsiteX1" fmla="*/ 106862 w 939297"/>
                    <a:gd name="connsiteY1" fmla="*/ 51613 h 408015"/>
                    <a:gd name="connsiteX2" fmla="*/ 238481 w 939297"/>
                    <a:gd name="connsiteY2" fmla="*/ 370269 h 408015"/>
                    <a:gd name="connsiteX3" fmla="*/ 723390 w 939297"/>
                    <a:gd name="connsiteY3" fmla="*/ 3122 h 408015"/>
                    <a:gd name="connsiteX4" fmla="*/ 641246 w 939297"/>
                    <a:gd name="connsiteY4" fmla="*/ 354209 h 408015"/>
                    <a:gd name="connsiteX5" fmla="*/ 759011 w 939297"/>
                    <a:gd name="connsiteY5" fmla="*/ 408015 h 408015"/>
                    <a:gd name="connsiteX6" fmla="*/ 678361 w 939297"/>
                    <a:gd name="connsiteY6" fmla="*/ 3120 h 408015"/>
                    <a:gd name="connsiteX7" fmla="*/ 214545 w 939297"/>
                    <a:gd name="connsiteY7" fmla="*/ 373375 h 408015"/>
                    <a:gd name="connsiteX8" fmla="*/ 100245 w 939297"/>
                    <a:gd name="connsiteY8" fmla="*/ 35556 h 408015"/>
                    <a:gd name="connsiteX0" fmla="*/ 100245 w 939297"/>
                    <a:gd name="connsiteY0" fmla="*/ 35556 h 408015"/>
                    <a:gd name="connsiteX1" fmla="*/ 106862 w 939297"/>
                    <a:gd name="connsiteY1" fmla="*/ 51613 h 408015"/>
                    <a:gd name="connsiteX2" fmla="*/ 238481 w 939297"/>
                    <a:gd name="connsiteY2" fmla="*/ 370269 h 408015"/>
                    <a:gd name="connsiteX3" fmla="*/ 723390 w 939297"/>
                    <a:gd name="connsiteY3" fmla="*/ 3122 h 408015"/>
                    <a:gd name="connsiteX4" fmla="*/ 641246 w 939297"/>
                    <a:gd name="connsiteY4" fmla="*/ 354209 h 408015"/>
                    <a:gd name="connsiteX5" fmla="*/ 759011 w 939297"/>
                    <a:gd name="connsiteY5" fmla="*/ 408015 h 408015"/>
                    <a:gd name="connsiteX6" fmla="*/ 678361 w 939297"/>
                    <a:gd name="connsiteY6" fmla="*/ 3120 h 408015"/>
                    <a:gd name="connsiteX7" fmla="*/ 214545 w 939297"/>
                    <a:gd name="connsiteY7" fmla="*/ 373375 h 408015"/>
                    <a:gd name="connsiteX8" fmla="*/ 100245 w 939297"/>
                    <a:gd name="connsiteY8" fmla="*/ 35556 h 408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39297" h="408015">
                      <a:moveTo>
                        <a:pt x="100245" y="35556"/>
                      </a:moveTo>
                      <a:cubicBezTo>
                        <a:pt x="114625" y="43120"/>
                        <a:pt x="70545" y="31618"/>
                        <a:pt x="106862" y="51613"/>
                      </a:cubicBezTo>
                      <a:cubicBezTo>
                        <a:pt x="-33466" y="158199"/>
                        <a:pt x="88391" y="327552"/>
                        <a:pt x="238481" y="370269"/>
                      </a:cubicBezTo>
                      <a:cubicBezTo>
                        <a:pt x="557663" y="393728"/>
                        <a:pt x="507902" y="68144"/>
                        <a:pt x="723390" y="3122"/>
                      </a:cubicBezTo>
                      <a:cubicBezTo>
                        <a:pt x="925763" y="76277"/>
                        <a:pt x="764454" y="315691"/>
                        <a:pt x="641246" y="354209"/>
                      </a:cubicBezTo>
                      <a:lnTo>
                        <a:pt x="759011" y="408015"/>
                      </a:lnTo>
                      <a:cubicBezTo>
                        <a:pt x="1071565" y="249959"/>
                        <a:pt x="933843" y="-32788"/>
                        <a:pt x="678361" y="3120"/>
                      </a:cubicBezTo>
                      <a:cubicBezTo>
                        <a:pt x="352883" y="45721"/>
                        <a:pt x="452907" y="357578"/>
                        <a:pt x="214545" y="373375"/>
                      </a:cubicBezTo>
                      <a:cubicBezTo>
                        <a:pt x="-23817" y="389172"/>
                        <a:pt x="-66009" y="91589"/>
                        <a:pt x="100245" y="35556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70C0"/>
                    </a:gs>
                    <a:gs pos="9000">
                      <a:srgbClr val="29C7FF"/>
                    </a:gs>
                    <a:gs pos="51000">
                      <a:srgbClr val="33CAFF"/>
                    </a:gs>
                    <a:gs pos="32000">
                      <a:srgbClr val="0070C0"/>
                    </a:gs>
                    <a:gs pos="97000">
                      <a:srgbClr val="005EA4"/>
                    </a:gs>
                    <a:gs pos="89000">
                      <a:srgbClr val="0070C0"/>
                    </a:gs>
                  </a:gsLst>
                  <a:lin ang="0" scaled="1"/>
                  <a:tileRect/>
                </a:gradFill>
                <a:ln w="6350" cap="flat" cmpd="sng" algn="ctr">
                  <a:solidFill>
                    <a:srgbClr val="1C2638">
                      <a:lumMod val="75000"/>
                      <a:lumOff val="25000"/>
                      <a:alpha val="77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Ovaal 112"/>
                <p:cNvSpPr/>
                <p:nvPr userDrawn="1"/>
              </p:nvSpPr>
              <p:spPr>
                <a:xfrm flipV="1">
                  <a:off x="11012327" y="2951356"/>
                  <a:ext cx="45720" cy="45720"/>
                </a:xfrm>
                <a:prstGeom prst="ellipse">
                  <a:avLst/>
                </a:prstGeom>
                <a:solidFill>
                  <a:srgbClr val="1D1D1B">
                    <a:lumMod val="50000"/>
                    <a:lumOff val="50000"/>
                    <a:alpha val="99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88" name="bijsnijden"/>
            <p:cNvGrpSpPr/>
            <p:nvPr userDrawn="1"/>
          </p:nvGrpSpPr>
          <p:grpSpPr>
            <a:xfrm>
              <a:off x="12727582" y="5853402"/>
              <a:ext cx="779464" cy="828260"/>
              <a:chOff x="13143038" y="5655940"/>
              <a:chExt cx="779464" cy="828260"/>
            </a:xfrm>
          </p:grpSpPr>
          <p:grpSp>
            <p:nvGrpSpPr>
              <p:cNvPr id="89" name="Groep 88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92" name="Rechthoek 91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93" name="Afbeelding 92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94" name="L-vorm 93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95" name="L-vorm 94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90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91" name="Rechthoekige driehoek 90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5656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/>
              <a:t>Tabel (100%)</a:t>
            </a:r>
            <a:endParaRPr lang="nl-NL"/>
          </a:p>
        </p:txBody>
      </p:sp>
      <p:sp>
        <p:nvSpPr>
          <p:cNvPr id="86" name="Tijdelijke aanduiding voor tabel 13"/>
          <p:cNvSpPr>
            <a:spLocks noGrp="1"/>
          </p:cNvSpPr>
          <p:nvPr>
            <p:ph type="tbl" sz="quarter" idx="15"/>
          </p:nvPr>
        </p:nvSpPr>
        <p:spPr>
          <a:xfrm>
            <a:off x="458926" y="1092201"/>
            <a:ext cx="11275200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US"/>
              <a:t>Click icon to add table</a:t>
            </a:r>
            <a:endParaRPr lang="nl-NL"/>
          </a:p>
        </p:txBody>
      </p:sp>
      <p:grpSp>
        <p:nvGrpSpPr>
          <p:cNvPr id="87" name="Groep 86"/>
          <p:cNvGrpSpPr/>
          <p:nvPr userDrawn="1"/>
        </p:nvGrpSpPr>
        <p:grpSpPr>
          <a:xfrm>
            <a:off x="12850330" y="21157"/>
            <a:ext cx="2609094" cy="4339920"/>
            <a:chOff x="12470972" y="-5444"/>
            <a:chExt cx="2609094" cy="4339920"/>
          </a:xfrm>
        </p:grpSpPr>
        <p:grpSp>
          <p:nvGrpSpPr>
            <p:cNvPr id="88" name="Groep 87"/>
            <p:cNvGrpSpPr/>
            <p:nvPr/>
          </p:nvGrpSpPr>
          <p:grpSpPr>
            <a:xfrm>
              <a:off x="12478620" y="1489205"/>
              <a:ext cx="615489" cy="522454"/>
              <a:chOff x="3793456" y="3603"/>
              <a:chExt cx="4527394" cy="473968"/>
            </a:xfrm>
          </p:grpSpPr>
          <p:grpSp>
            <p:nvGrpSpPr>
              <p:cNvPr id="102" name="Group 4"/>
              <p:cNvGrpSpPr>
                <a:grpSpLocks noChangeAspect="1"/>
              </p:cNvGrpSpPr>
              <p:nvPr userDrawn="1"/>
            </p:nvGrpSpPr>
            <p:grpSpPr bwMode="auto">
              <a:xfrm>
                <a:off x="3793456" y="3603"/>
                <a:ext cx="4526989" cy="473968"/>
                <a:chOff x="1782" y="145"/>
                <a:chExt cx="2674" cy="2270"/>
              </a:xfrm>
            </p:grpSpPr>
            <p:sp>
              <p:nvSpPr>
                <p:cNvPr id="109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807" y="145"/>
                  <a:ext cx="2649" cy="2270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rgbClr val="96969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+mj-lt"/>
                  </a:endParaRPr>
                </a:p>
              </p:txBody>
            </p:sp>
            <p:sp>
              <p:nvSpPr>
                <p:cNvPr id="110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799" y="145"/>
                  <a:ext cx="2657" cy="439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009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+mj-lt"/>
                  </a:endParaRPr>
                </a:p>
              </p:txBody>
            </p:sp>
            <p:sp>
              <p:nvSpPr>
                <p:cNvPr id="111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782" y="1469"/>
                  <a:ext cx="2655" cy="29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+mj-lt"/>
                  </a:endParaRPr>
                </a:p>
              </p:txBody>
            </p:sp>
          </p:grpSp>
          <p:cxnSp>
            <p:nvCxnSpPr>
              <p:cNvPr id="103" name="Rechte verbindingslijn 102"/>
              <p:cNvCxnSpPr/>
              <p:nvPr userDrawn="1"/>
            </p:nvCxnSpPr>
            <p:spPr>
              <a:xfrm flipH="1">
                <a:off x="6086136" y="96647"/>
                <a:ext cx="6024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Rechte verbindingslijn 103"/>
              <p:cNvCxnSpPr/>
              <p:nvPr userDrawn="1"/>
            </p:nvCxnSpPr>
            <p:spPr>
              <a:xfrm>
                <a:off x="7281567" y="96647"/>
                <a:ext cx="0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Rechte verbindingslijn 104"/>
              <p:cNvCxnSpPr/>
              <p:nvPr userDrawn="1"/>
            </p:nvCxnSpPr>
            <p:spPr>
              <a:xfrm>
                <a:off x="4905299" y="96186"/>
                <a:ext cx="0" cy="377505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Rechte verbindingslijn 105"/>
              <p:cNvCxnSpPr/>
              <p:nvPr userDrawn="1"/>
            </p:nvCxnSpPr>
            <p:spPr>
              <a:xfrm flipH="1">
                <a:off x="3836186" y="181242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Rechte verbindingslijn 106"/>
              <p:cNvCxnSpPr/>
              <p:nvPr userDrawn="1"/>
            </p:nvCxnSpPr>
            <p:spPr>
              <a:xfrm flipH="1">
                <a:off x="3836186" y="280466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Rechte verbindingslijn 107"/>
              <p:cNvCxnSpPr/>
              <p:nvPr userDrawn="1"/>
            </p:nvCxnSpPr>
            <p:spPr>
              <a:xfrm flipH="1">
                <a:off x="3836186" y="392407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" name="Rechthoek 88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TABEL INVOEGEN</a:t>
              </a:r>
            </a:p>
          </p:txBody>
        </p:sp>
        <p:sp>
          <p:nvSpPr>
            <p:cNvPr id="90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Klik op het icoon om een tabel </a:t>
              </a:r>
              <a:b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in te voegen</a:t>
              </a:r>
            </a:p>
          </p:txBody>
        </p:sp>
        <p:sp>
          <p:nvSpPr>
            <p:cNvPr id="91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eer het aantal rijen en kolommen en klik op </a:t>
              </a:r>
              <a:r>
                <a:rPr lang="nl-NL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OK’</a:t>
              </a:r>
            </a:p>
          </p:txBody>
        </p:sp>
        <p:sp>
          <p:nvSpPr>
            <p:cNvPr id="92" name="Ovaal 91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93" name="Ovaal 92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94" name="Rechte verbindingslijn 93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5" name="Rechte verbindingslijn 94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6" name="Rechte verbindingslijn 95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7" name="Groep 96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98" name="Afgeronde rechthoek 9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9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/>
                  <a:t>OK</a:t>
                </a:r>
              </a:p>
            </p:txBody>
          </p:sp>
          <p:cxnSp>
            <p:nvCxnSpPr>
              <p:cNvPr id="100" name="Rechte verbindingslijn 9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1" name="Gelijkbenige driehoek 10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1144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/>
              <a:t>Grafiek (100%)</a:t>
            </a:r>
            <a:endParaRPr lang="nl-NL"/>
          </a:p>
        </p:txBody>
      </p:sp>
      <p:sp>
        <p:nvSpPr>
          <p:cNvPr id="85" name="Tijdelijke aanduiding voor grafiek 13"/>
          <p:cNvSpPr>
            <a:spLocks noGrp="1"/>
          </p:cNvSpPr>
          <p:nvPr>
            <p:ph type="chart" sz="quarter" idx="16"/>
          </p:nvPr>
        </p:nvSpPr>
        <p:spPr>
          <a:xfrm>
            <a:off x="458926" y="1092201"/>
            <a:ext cx="11275200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grpSp>
        <p:nvGrpSpPr>
          <p:cNvPr id="87" name="Groep 86"/>
          <p:cNvGrpSpPr/>
          <p:nvPr userDrawn="1"/>
        </p:nvGrpSpPr>
        <p:grpSpPr>
          <a:xfrm>
            <a:off x="12764736" y="19956"/>
            <a:ext cx="2697278" cy="6868888"/>
            <a:chOff x="12382788" y="-5444"/>
            <a:chExt cx="2697278" cy="6868888"/>
          </a:xfrm>
        </p:grpSpPr>
        <p:grpSp>
          <p:nvGrpSpPr>
            <p:cNvPr id="88" name="Groep 87"/>
            <p:cNvGrpSpPr/>
            <p:nvPr/>
          </p:nvGrpSpPr>
          <p:grpSpPr>
            <a:xfrm>
              <a:off x="12382788" y="1480224"/>
              <a:ext cx="689983" cy="573048"/>
              <a:chOff x="15171969" y="1587338"/>
              <a:chExt cx="755407" cy="627385"/>
            </a:xfrm>
          </p:grpSpPr>
          <p:sp>
            <p:nvSpPr>
              <p:cNvPr id="142" name="Rechthoek 962"/>
              <p:cNvSpPr/>
              <p:nvPr userDrawn="1"/>
            </p:nvSpPr>
            <p:spPr>
              <a:xfrm>
                <a:off x="15171969" y="2008934"/>
                <a:ext cx="755407" cy="205789"/>
              </a:xfrm>
              <a:custGeom>
                <a:avLst/>
                <a:gdLst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664132 w 664132"/>
                  <a:gd name="connsiteY2" fmla="*/ 27778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664132"/>
                  <a:gd name="connsiteY0" fmla="*/ 0 h 290487"/>
                  <a:gd name="connsiteX1" fmla="*/ 664132 w 664132"/>
                  <a:gd name="connsiteY1" fmla="*/ 0 h 290487"/>
                  <a:gd name="connsiteX2" fmla="*/ 333932 w 664132"/>
                  <a:gd name="connsiteY2" fmla="*/ 290487 h 290487"/>
                  <a:gd name="connsiteX3" fmla="*/ 0 w 664132"/>
                  <a:gd name="connsiteY3" fmla="*/ 277787 h 290487"/>
                  <a:gd name="connsiteX4" fmla="*/ 0 w 664132"/>
                  <a:gd name="connsiteY4" fmla="*/ 0 h 290487"/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575232 w 664132"/>
                  <a:gd name="connsiteY2" fmla="*/ 27143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708582"/>
                  <a:gd name="connsiteY0" fmla="*/ 0 h 277787"/>
                  <a:gd name="connsiteX1" fmla="*/ 708582 w 708582"/>
                  <a:gd name="connsiteY1" fmla="*/ 31750 h 277787"/>
                  <a:gd name="connsiteX2" fmla="*/ 575232 w 708582"/>
                  <a:gd name="connsiteY2" fmla="*/ 271437 h 277787"/>
                  <a:gd name="connsiteX3" fmla="*/ 0 w 708582"/>
                  <a:gd name="connsiteY3" fmla="*/ 277787 h 277787"/>
                  <a:gd name="connsiteX4" fmla="*/ 0 w 708582"/>
                  <a:gd name="connsiteY4" fmla="*/ 0 h 277787"/>
                  <a:gd name="connsiteX0" fmla="*/ 228600 w 708582"/>
                  <a:gd name="connsiteY0" fmla="*/ 6350 h 246037"/>
                  <a:gd name="connsiteX1" fmla="*/ 708582 w 708582"/>
                  <a:gd name="connsiteY1" fmla="*/ 0 h 246037"/>
                  <a:gd name="connsiteX2" fmla="*/ 575232 w 708582"/>
                  <a:gd name="connsiteY2" fmla="*/ 239687 h 246037"/>
                  <a:gd name="connsiteX3" fmla="*/ 0 w 708582"/>
                  <a:gd name="connsiteY3" fmla="*/ 246037 h 246037"/>
                  <a:gd name="connsiteX4" fmla="*/ 228600 w 708582"/>
                  <a:gd name="connsiteY4" fmla="*/ 6350 h 246037"/>
                  <a:gd name="connsiteX0" fmla="*/ 228600 w 778432"/>
                  <a:gd name="connsiteY0" fmla="*/ 0 h 239687"/>
                  <a:gd name="connsiteX1" fmla="*/ 778432 w 778432"/>
                  <a:gd name="connsiteY1" fmla="*/ 25400 h 239687"/>
                  <a:gd name="connsiteX2" fmla="*/ 575232 w 778432"/>
                  <a:gd name="connsiteY2" fmla="*/ 233337 h 239687"/>
                  <a:gd name="connsiteX3" fmla="*/ 0 w 778432"/>
                  <a:gd name="connsiteY3" fmla="*/ 239687 h 239687"/>
                  <a:gd name="connsiteX4" fmla="*/ 228600 w 778432"/>
                  <a:gd name="connsiteY4" fmla="*/ 0 h 239687"/>
                  <a:gd name="connsiteX0" fmla="*/ 228600 w 778432"/>
                  <a:gd name="connsiteY0" fmla="*/ 0 h 214287"/>
                  <a:gd name="connsiteX1" fmla="*/ 778432 w 778432"/>
                  <a:gd name="connsiteY1" fmla="*/ 0 h 214287"/>
                  <a:gd name="connsiteX2" fmla="*/ 575232 w 778432"/>
                  <a:gd name="connsiteY2" fmla="*/ 207937 h 214287"/>
                  <a:gd name="connsiteX3" fmla="*/ 0 w 778432"/>
                  <a:gd name="connsiteY3" fmla="*/ 214287 h 214287"/>
                  <a:gd name="connsiteX4" fmla="*/ 228600 w 778432"/>
                  <a:gd name="connsiteY4" fmla="*/ 0 h 214287"/>
                  <a:gd name="connsiteX0" fmla="*/ 228600 w 730724"/>
                  <a:gd name="connsiteY0" fmla="*/ 3975 h 218262"/>
                  <a:gd name="connsiteX1" fmla="*/ 730724 w 730724"/>
                  <a:gd name="connsiteY1" fmla="*/ 0 h 218262"/>
                  <a:gd name="connsiteX2" fmla="*/ 575232 w 730724"/>
                  <a:gd name="connsiteY2" fmla="*/ 211912 h 218262"/>
                  <a:gd name="connsiteX3" fmla="*/ 0 w 730724"/>
                  <a:gd name="connsiteY3" fmla="*/ 218262 h 218262"/>
                  <a:gd name="connsiteX4" fmla="*/ 228600 w 730724"/>
                  <a:gd name="connsiteY4" fmla="*/ 3975 h 218262"/>
                  <a:gd name="connsiteX0" fmla="*/ 252454 w 754578"/>
                  <a:gd name="connsiteY0" fmla="*/ 3975 h 211912"/>
                  <a:gd name="connsiteX1" fmla="*/ 754578 w 754578"/>
                  <a:gd name="connsiteY1" fmla="*/ 0 h 211912"/>
                  <a:gd name="connsiteX2" fmla="*/ 599086 w 754578"/>
                  <a:gd name="connsiteY2" fmla="*/ 211912 h 211912"/>
                  <a:gd name="connsiteX3" fmla="*/ 0 w 754578"/>
                  <a:gd name="connsiteY3" fmla="*/ 210311 h 211912"/>
                  <a:gd name="connsiteX4" fmla="*/ 252454 w 754578"/>
                  <a:gd name="connsiteY4" fmla="*/ 3975 h 211912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599086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754578"/>
                  <a:gd name="connsiteY0" fmla="*/ 0 h 223840"/>
                  <a:gd name="connsiteX1" fmla="*/ 754578 w 754578"/>
                  <a:gd name="connsiteY1" fmla="*/ 7952 h 223840"/>
                  <a:gd name="connsiteX2" fmla="*/ 654745 w 754578"/>
                  <a:gd name="connsiteY2" fmla="*/ 223840 h 223840"/>
                  <a:gd name="connsiteX3" fmla="*/ 0 w 754578"/>
                  <a:gd name="connsiteY3" fmla="*/ 218263 h 223840"/>
                  <a:gd name="connsiteX4" fmla="*/ 172941 w 754578"/>
                  <a:gd name="connsiteY4" fmla="*/ 0 h 223840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646793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818189"/>
                  <a:gd name="connsiteY0" fmla="*/ 0 h 219864"/>
                  <a:gd name="connsiteX1" fmla="*/ 818189 w 818189"/>
                  <a:gd name="connsiteY1" fmla="*/ 31806 h 219864"/>
                  <a:gd name="connsiteX2" fmla="*/ 646793 w 818189"/>
                  <a:gd name="connsiteY2" fmla="*/ 219864 h 219864"/>
                  <a:gd name="connsiteX3" fmla="*/ 0 w 818189"/>
                  <a:gd name="connsiteY3" fmla="*/ 218263 h 219864"/>
                  <a:gd name="connsiteX4" fmla="*/ 172941 w 818189"/>
                  <a:gd name="connsiteY4" fmla="*/ 0 h 219864"/>
                  <a:gd name="connsiteX0" fmla="*/ 172941 w 806262"/>
                  <a:gd name="connsiteY0" fmla="*/ 0 h 219864"/>
                  <a:gd name="connsiteX1" fmla="*/ 806262 w 806262"/>
                  <a:gd name="connsiteY1" fmla="*/ 11928 h 219864"/>
                  <a:gd name="connsiteX2" fmla="*/ 646793 w 806262"/>
                  <a:gd name="connsiteY2" fmla="*/ 219864 h 219864"/>
                  <a:gd name="connsiteX3" fmla="*/ 0 w 806262"/>
                  <a:gd name="connsiteY3" fmla="*/ 218263 h 219864"/>
                  <a:gd name="connsiteX4" fmla="*/ 172941 w 806262"/>
                  <a:gd name="connsiteY4" fmla="*/ 0 h 219864"/>
                  <a:gd name="connsiteX0" fmla="*/ 172941 w 798310"/>
                  <a:gd name="connsiteY0" fmla="*/ 0 h 219864"/>
                  <a:gd name="connsiteX1" fmla="*/ 798310 w 798310"/>
                  <a:gd name="connsiteY1" fmla="*/ 15903 h 219864"/>
                  <a:gd name="connsiteX2" fmla="*/ 646793 w 798310"/>
                  <a:gd name="connsiteY2" fmla="*/ 219864 h 219864"/>
                  <a:gd name="connsiteX3" fmla="*/ 0 w 798310"/>
                  <a:gd name="connsiteY3" fmla="*/ 218263 h 219864"/>
                  <a:gd name="connsiteX4" fmla="*/ 172941 w 798310"/>
                  <a:gd name="connsiteY4" fmla="*/ 0 h 219864"/>
                  <a:gd name="connsiteX0" fmla="*/ 172941 w 798310"/>
                  <a:gd name="connsiteY0" fmla="*/ 0 h 259620"/>
                  <a:gd name="connsiteX1" fmla="*/ 798310 w 798310"/>
                  <a:gd name="connsiteY1" fmla="*/ 15903 h 259620"/>
                  <a:gd name="connsiteX2" fmla="*/ 614988 w 798310"/>
                  <a:gd name="connsiteY2" fmla="*/ 259620 h 259620"/>
                  <a:gd name="connsiteX3" fmla="*/ 0 w 798310"/>
                  <a:gd name="connsiteY3" fmla="*/ 218263 h 259620"/>
                  <a:gd name="connsiteX4" fmla="*/ 172941 w 798310"/>
                  <a:gd name="connsiteY4" fmla="*/ 0 h 259620"/>
                  <a:gd name="connsiteX0" fmla="*/ 188843 w 814212"/>
                  <a:gd name="connsiteY0" fmla="*/ 0 h 259620"/>
                  <a:gd name="connsiteX1" fmla="*/ 814212 w 814212"/>
                  <a:gd name="connsiteY1" fmla="*/ 15903 h 259620"/>
                  <a:gd name="connsiteX2" fmla="*/ 630890 w 814212"/>
                  <a:gd name="connsiteY2" fmla="*/ 259620 h 259620"/>
                  <a:gd name="connsiteX3" fmla="*/ 0 w 814212"/>
                  <a:gd name="connsiteY3" fmla="*/ 254043 h 259620"/>
                  <a:gd name="connsiteX4" fmla="*/ 188843 w 814212"/>
                  <a:gd name="connsiteY4" fmla="*/ 0 h 259620"/>
                  <a:gd name="connsiteX0" fmla="*/ 208721 w 834090"/>
                  <a:gd name="connsiteY0" fmla="*/ 0 h 259620"/>
                  <a:gd name="connsiteX1" fmla="*/ 834090 w 834090"/>
                  <a:gd name="connsiteY1" fmla="*/ 15903 h 259620"/>
                  <a:gd name="connsiteX2" fmla="*/ 650768 w 834090"/>
                  <a:gd name="connsiteY2" fmla="*/ 259620 h 259620"/>
                  <a:gd name="connsiteX3" fmla="*/ 0 w 834090"/>
                  <a:gd name="connsiteY3" fmla="*/ 254043 h 259620"/>
                  <a:gd name="connsiteX4" fmla="*/ 208721 w 834090"/>
                  <a:gd name="connsiteY4" fmla="*/ 0 h 259620"/>
                  <a:gd name="connsiteX0" fmla="*/ 268356 w 893725"/>
                  <a:gd name="connsiteY0" fmla="*/ 0 h 259620"/>
                  <a:gd name="connsiteX1" fmla="*/ 893725 w 893725"/>
                  <a:gd name="connsiteY1" fmla="*/ 15903 h 259620"/>
                  <a:gd name="connsiteX2" fmla="*/ 710403 w 893725"/>
                  <a:gd name="connsiteY2" fmla="*/ 259620 h 259620"/>
                  <a:gd name="connsiteX3" fmla="*/ 0 w 893725"/>
                  <a:gd name="connsiteY3" fmla="*/ 254043 h 259620"/>
                  <a:gd name="connsiteX4" fmla="*/ 268356 w 893725"/>
                  <a:gd name="connsiteY4" fmla="*/ 0 h 259620"/>
                  <a:gd name="connsiteX0" fmla="*/ 260405 w 885774"/>
                  <a:gd name="connsiteY0" fmla="*/ 0 h 259620"/>
                  <a:gd name="connsiteX1" fmla="*/ 885774 w 885774"/>
                  <a:gd name="connsiteY1" fmla="*/ 15903 h 259620"/>
                  <a:gd name="connsiteX2" fmla="*/ 702452 w 885774"/>
                  <a:gd name="connsiteY2" fmla="*/ 259620 h 259620"/>
                  <a:gd name="connsiteX3" fmla="*/ 0 w 885774"/>
                  <a:gd name="connsiteY3" fmla="*/ 254043 h 259620"/>
                  <a:gd name="connsiteX4" fmla="*/ 260405 w 885774"/>
                  <a:gd name="connsiteY4" fmla="*/ 0 h 259620"/>
                  <a:gd name="connsiteX0" fmla="*/ 220648 w 885774"/>
                  <a:gd name="connsiteY0" fmla="*/ 0 h 243717"/>
                  <a:gd name="connsiteX1" fmla="*/ 885774 w 885774"/>
                  <a:gd name="connsiteY1" fmla="*/ 0 h 243717"/>
                  <a:gd name="connsiteX2" fmla="*/ 702452 w 885774"/>
                  <a:gd name="connsiteY2" fmla="*/ 243717 h 243717"/>
                  <a:gd name="connsiteX3" fmla="*/ 0 w 885774"/>
                  <a:gd name="connsiteY3" fmla="*/ 238140 h 243717"/>
                  <a:gd name="connsiteX4" fmla="*/ 220648 w 885774"/>
                  <a:gd name="connsiteY4" fmla="*/ 0 h 243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5774" h="243717">
                    <a:moveTo>
                      <a:pt x="220648" y="0"/>
                    </a:moveTo>
                    <a:lnTo>
                      <a:pt x="885774" y="0"/>
                    </a:lnTo>
                    <a:lnTo>
                      <a:pt x="702452" y="243717"/>
                    </a:lnTo>
                    <a:lnTo>
                      <a:pt x="0" y="238140"/>
                    </a:lnTo>
                    <a:lnTo>
                      <a:pt x="220648" y="0"/>
                    </a:lnTo>
                    <a:close/>
                  </a:path>
                </a:pathLst>
              </a:custGeom>
              <a:solidFill>
                <a:srgbClr val="FFFFFF">
                  <a:lumMod val="50000"/>
                </a:srgbClr>
              </a:solidFill>
              <a:ln w="25400" cap="flat" cmpd="sng" algn="ctr">
                <a:noFill/>
                <a:prstDash val="solid"/>
              </a:ln>
              <a:effectLst>
                <a:softEdge rad="31750"/>
              </a:effectLst>
            </p:spPr>
            <p:txBody>
              <a:bodyPr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43" name="Groep 142"/>
              <p:cNvGrpSpPr/>
              <p:nvPr userDrawn="1"/>
            </p:nvGrpSpPr>
            <p:grpSpPr>
              <a:xfrm>
                <a:off x="15281106" y="1587338"/>
                <a:ext cx="511775" cy="560304"/>
                <a:chOff x="10604642" y="969717"/>
                <a:chExt cx="1290643" cy="1427163"/>
              </a:xfrm>
            </p:grpSpPr>
            <p:grpSp>
              <p:nvGrpSpPr>
                <p:cNvPr id="144" name="Group 879"/>
                <p:cNvGrpSpPr>
                  <a:grpSpLocks noChangeAspect="1"/>
                </p:cNvGrpSpPr>
                <p:nvPr userDrawn="1"/>
              </p:nvGrpSpPr>
              <p:grpSpPr bwMode="auto">
                <a:xfrm>
                  <a:off x="10604642" y="969717"/>
                  <a:ext cx="1290643" cy="1427163"/>
                  <a:chOff x="4798" y="1515"/>
                  <a:chExt cx="813" cy="899"/>
                </a:xfrm>
              </p:grpSpPr>
              <p:sp>
                <p:nvSpPr>
                  <p:cNvPr id="146" name="Freeform 886"/>
                  <p:cNvSpPr>
                    <a:spLocks/>
                  </p:cNvSpPr>
                  <p:nvPr userDrawn="1"/>
                </p:nvSpPr>
                <p:spPr bwMode="auto">
                  <a:xfrm>
                    <a:off x="5269" y="1515"/>
                    <a:ext cx="71" cy="898"/>
                  </a:xfrm>
                  <a:custGeom>
                    <a:avLst/>
                    <a:gdLst>
                      <a:gd name="T0" fmla="*/ 282 w 282"/>
                      <a:gd name="T1" fmla="*/ 0 h 3595"/>
                      <a:gd name="T2" fmla="*/ 282 w 282"/>
                      <a:gd name="T3" fmla="*/ 3138 h 3595"/>
                      <a:gd name="T4" fmla="*/ 0 w 282"/>
                      <a:gd name="T5" fmla="*/ 3595 h 3595"/>
                      <a:gd name="T6" fmla="*/ 0 w 282"/>
                      <a:gd name="T7" fmla="*/ 285 h 3595"/>
                      <a:gd name="T8" fmla="*/ 282 w 282"/>
                      <a:gd name="T9" fmla="*/ 0 h 35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82" h="3595">
                        <a:moveTo>
                          <a:pt x="282" y="0"/>
                        </a:moveTo>
                        <a:lnTo>
                          <a:pt x="282" y="3138"/>
                        </a:lnTo>
                        <a:lnTo>
                          <a:pt x="0" y="3595"/>
                        </a:lnTo>
                        <a:lnTo>
                          <a:pt x="0" y="285"/>
                        </a:lnTo>
                        <a:lnTo>
                          <a:pt x="282" y="0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7" name="Rectangle 880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515"/>
                    <a:ext cx="813" cy="899"/>
                  </a:xfrm>
                  <a:prstGeom prst="rect">
                    <a:avLst/>
                  </a:prstGeom>
                  <a:noFill/>
                  <a:ln w="0">
                    <a:noFill/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8" name="Rectangle 881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857"/>
                    <a:ext cx="228" cy="55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002060"/>
                      </a:gs>
                      <a:gs pos="100000">
                        <a:srgbClr val="1929FF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9" name="Freeform 882"/>
                  <p:cNvSpPr>
                    <a:spLocks/>
                  </p:cNvSpPr>
                  <p:nvPr userDrawn="1"/>
                </p:nvSpPr>
                <p:spPr bwMode="auto">
                  <a:xfrm>
                    <a:off x="4798" y="1771"/>
                    <a:ext cx="314" cy="86"/>
                  </a:xfrm>
                  <a:custGeom>
                    <a:avLst/>
                    <a:gdLst>
                      <a:gd name="T0" fmla="*/ 411 w 1255"/>
                      <a:gd name="T1" fmla="*/ 0 h 342"/>
                      <a:gd name="T2" fmla="*/ 1255 w 1255"/>
                      <a:gd name="T3" fmla="*/ 0 h 342"/>
                      <a:gd name="T4" fmla="*/ 913 w 1255"/>
                      <a:gd name="T5" fmla="*/ 342 h 342"/>
                      <a:gd name="T6" fmla="*/ 0 w 1255"/>
                      <a:gd name="T7" fmla="*/ 342 h 342"/>
                      <a:gd name="T8" fmla="*/ 411 w 1255"/>
                      <a:gd name="T9" fmla="*/ 0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255" h="342">
                        <a:moveTo>
                          <a:pt x="411" y="0"/>
                        </a:moveTo>
                        <a:lnTo>
                          <a:pt x="1255" y="0"/>
                        </a:lnTo>
                        <a:lnTo>
                          <a:pt x="913" y="342"/>
                        </a:lnTo>
                        <a:lnTo>
                          <a:pt x="0" y="342"/>
                        </a:lnTo>
                        <a:lnTo>
                          <a:pt x="411" y="0"/>
                        </a:lnTo>
                        <a:close/>
                      </a:path>
                    </a:pathLst>
                  </a:custGeom>
                  <a:solidFill>
                    <a:srgbClr val="0039AC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0" name="Freeform 883"/>
                  <p:cNvSpPr>
                    <a:spLocks/>
                  </p:cNvSpPr>
                  <p:nvPr userDrawn="1"/>
                </p:nvSpPr>
                <p:spPr bwMode="auto">
                  <a:xfrm>
                    <a:off x="5026" y="1771"/>
                    <a:ext cx="85" cy="642"/>
                  </a:xfrm>
                  <a:custGeom>
                    <a:avLst/>
                    <a:gdLst>
                      <a:gd name="T0" fmla="*/ 342 w 342"/>
                      <a:gd name="T1" fmla="*/ 0 h 2568"/>
                      <a:gd name="T2" fmla="*/ 342 w 342"/>
                      <a:gd name="T3" fmla="*/ 2111 h 2568"/>
                      <a:gd name="T4" fmla="*/ 0 w 342"/>
                      <a:gd name="T5" fmla="*/ 2568 h 2568"/>
                      <a:gd name="T6" fmla="*/ 0 w 342"/>
                      <a:gd name="T7" fmla="*/ 342 h 2568"/>
                      <a:gd name="T8" fmla="*/ 342 w 342"/>
                      <a:gd name="T9" fmla="*/ 0 h 25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568">
                        <a:moveTo>
                          <a:pt x="342" y="0"/>
                        </a:moveTo>
                        <a:lnTo>
                          <a:pt x="342" y="2111"/>
                        </a:lnTo>
                        <a:lnTo>
                          <a:pt x="0" y="2568"/>
                        </a:lnTo>
                        <a:lnTo>
                          <a:pt x="0" y="342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000075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1" name="Freeform 884"/>
                  <p:cNvSpPr>
                    <a:spLocks/>
                  </p:cNvSpPr>
                  <p:nvPr userDrawn="1"/>
                </p:nvSpPr>
                <p:spPr bwMode="auto">
                  <a:xfrm>
                    <a:off x="5054" y="1515"/>
                    <a:ext cx="286" cy="72"/>
                  </a:xfrm>
                  <a:custGeom>
                    <a:avLst/>
                    <a:gdLst>
                      <a:gd name="T0" fmla="*/ 318 w 1140"/>
                      <a:gd name="T1" fmla="*/ 0 h 289"/>
                      <a:gd name="T2" fmla="*/ 1140 w 1140"/>
                      <a:gd name="T3" fmla="*/ 0 h 289"/>
                      <a:gd name="T4" fmla="*/ 855 w 1140"/>
                      <a:gd name="T5" fmla="*/ 289 h 289"/>
                      <a:gd name="T6" fmla="*/ 0 w 1140"/>
                      <a:gd name="T7" fmla="*/ 289 h 289"/>
                      <a:gd name="T8" fmla="*/ 318 w 1140"/>
                      <a:gd name="T9" fmla="*/ 0 h 2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0" h="289">
                        <a:moveTo>
                          <a:pt x="318" y="0"/>
                        </a:moveTo>
                        <a:lnTo>
                          <a:pt x="1140" y="0"/>
                        </a:lnTo>
                        <a:lnTo>
                          <a:pt x="855" y="289"/>
                        </a:lnTo>
                        <a:lnTo>
                          <a:pt x="0" y="289"/>
                        </a:lnTo>
                        <a:lnTo>
                          <a:pt x="318" y="0"/>
                        </a:lnTo>
                        <a:close/>
                      </a:path>
                    </a:pathLst>
                  </a:custGeom>
                  <a:solidFill>
                    <a:srgbClr val="EEFF26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2" name="Rectangle 885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054" y="1587"/>
                    <a:ext cx="215" cy="82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FFC000"/>
                      </a:gs>
                      <a:gs pos="100000">
                        <a:srgbClr val="FFFF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3" name="Rectangle 887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298" y="1771"/>
                    <a:ext cx="228" cy="643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B80004"/>
                      </a:gs>
                      <a:gs pos="100000">
                        <a:srgbClr val="FF00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4" name="Freeform 888"/>
                  <p:cNvSpPr>
                    <a:spLocks/>
                  </p:cNvSpPr>
                  <p:nvPr userDrawn="1"/>
                </p:nvSpPr>
                <p:spPr bwMode="auto">
                  <a:xfrm>
                    <a:off x="5526" y="1686"/>
                    <a:ext cx="85" cy="727"/>
                  </a:xfrm>
                  <a:custGeom>
                    <a:avLst/>
                    <a:gdLst>
                      <a:gd name="T0" fmla="*/ 342 w 342"/>
                      <a:gd name="T1" fmla="*/ 0 h 2911"/>
                      <a:gd name="T2" fmla="*/ 342 w 342"/>
                      <a:gd name="T3" fmla="*/ 2477 h 2911"/>
                      <a:gd name="T4" fmla="*/ 0 w 342"/>
                      <a:gd name="T5" fmla="*/ 2911 h 2911"/>
                      <a:gd name="T6" fmla="*/ 0 w 342"/>
                      <a:gd name="T7" fmla="*/ 334 h 2911"/>
                      <a:gd name="T8" fmla="*/ 342 w 342"/>
                      <a:gd name="T9" fmla="*/ 0 h 29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911">
                        <a:moveTo>
                          <a:pt x="342" y="0"/>
                        </a:moveTo>
                        <a:lnTo>
                          <a:pt x="342" y="2477"/>
                        </a:lnTo>
                        <a:lnTo>
                          <a:pt x="0" y="2911"/>
                        </a:lnTo>
                        <a:lnTo>
                          <a:pt x="0" y="334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C2001B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  <p:sp>
              <p:nvSpPr>
                <p:cNvPr id="145" name="Vrije vorm 144"/>
                <p:cNvSpPr/>
                <p:nvPr userDrawn="1"/>
              </p:nvSpPr>
              <p:spPr>
                <a:xfrm>
                  <a:off x="11389225" y="1241176"/>
                  <a:ext cx="506025" cy="137883"/>
                </a:xfrm>
                <a:custGeom>
                  <a:avLst/>
                  <a:gdLst>
                    <a:gd name="connsiteX0" fmla="*/ 0 w 508407"/>
                    <a:gd name="connsiteY0" fmla="*/ 142646 h 146304"/>
                    <a:gd name="connsiteX1" fmla="*/ 369418 w 508407"/>
                    <a:gd name="connsiteY1" fmla="*/ 146304 h 146304"/>
                    <a:gd name="connsiteX2" fmla="*/ 508407 w 508407"/>
                    <a:gd name="connsiteY2" fmla="*/ 0 h 146304"/>
                    <a:gd name="connsiteX3" fmla="*/ 168250 w 508407"/>
                    <a:gd name="connsiteY3" fmla="*/ 0 h 146304"/>
                    <a:gd name="connsiteX4" fmla="*/ 0 w 508407"/>
                    <a:gd name="connsiteY4" fmla="*/ 142646 h 146304"/>
                    <a:gd name="connsiteX0" fmla="*/ 0 w 508407"/>
                    <a:gd name="connsiteY0" fmla="*/ 142646 h 142646"/>
                    <a:gd name="connsiteX1" fmla="*/ 376562 w 508407"/>
                    <a:gd name="connsiteY1" fmla="*/ 136779 h 142646"/>
                    <a:gd name="connsiteX2" fmla="*/ 508407 w 508407"/>
                    <a:gd name="connsiteY2" fmla="*/ 0 h 142646"/>
                    <a:gd name="connsiteX3" fmla="*/ 168250 w 508407"/>
                    <a:gd name="connsiteY3" fmla="*/ 0 h 142646"/>
                    <a:gd name="connsiteX4" fmla="*/ 0 w 508407"/>
                    <a:gd name="connsiteY4" fmla="*/ 142646 h 142646"/>
                    <a:gd name="connsiteX0" fmla="*/ 0 w 506025"/>
                    <a:gd name="connsiteY0" fmla="*/ 137883 h 137883"/>
                    <a:gd name="connsiteX1" fmla="*/ 374180 w 506025"/>
                    <a:gd name="connsiteY1" fmla="*/ 136779 h 137883"/>
                    <a:gd name="connsiteX2" fmla="*/ 506025 w 506025"/>
                    <a:gd name="connsiteY2" fmla="*/ 0 h 137883"/>
                    <a:gd name="connsiteX3" fmla="*/ 165868 w 506025"/>
                    <a:gd name="connsiteY3" fmla="*/ 0 h 137883"/>
                    <a:gd name="connsiteX4" fmla="*/ 0 w 506025"/>
                    <a:gd name="connsiteY4" fmla="*/ 137883 h 137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6025" h="137883">
                      <a:moveTo>
                        <a:pt x="0" y="137883"/>
                      </a:moveTo>
                      <a:lnTo>
                        <a:pt x="374180" y="136779"/>
                      </a:lnTo>
                      <a:lnTo>
                        <a:pt x="506025" y="0"/>
                      </a:lnTo>
                      <a:lnTo>
                        <a:pt x="165868" y="0"/>
                      </a:lnTo>
                      <a:lnTo>
                        <a:pt x="0" y="137883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89" name="Groep 88"/>
            <p:cNvGrpSpPr/>
            <p:nvPr/>
          </p:nvGrpSpPr>
          <p:grpSpPr>
            <a:xfrm>
              <a:off x="12487778" y="6003628"/>
              <a:ext cx="1980859" cy="542924"/>
              <a:chOff x="12390702" y="6054428"/>
              <a:chExt cx="1980859" cy="542924"/>
            </a:xfrm>
          </p:grpSpPr>
          <p:sp>
            <p:nvSpPr>
              <p:cNvPr id="108" name="Rechthoek 107"/>
              <p:cNvSpPr/>
              <p:nvPr/>
            </p:nvSpPr>
            <p:spPr>
              <a:xfrm>
                <a:off x="12402284" y="6054428"/>
                <a:ext cx="1969277" cy="54292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09" name="Rechthoek 108"/>
              <p:cNvSpPr/>
              <p:nvPr/>
            </p:nvSpPr>
            <p:spPr>
              <a:xfrm>
                <a:off x="12662053" y="6062530"/>
                <a:ext cx="132760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nl-NL" sz="110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Ander grafiektype…</a:t>
                </a:r>
              </a:p>
            </p:txBody>
          </p:sp>
          <p:sp>
            <p:nvSpPr>
              <p:cNvPr id="110" name="Gelijkbenige driehoek 109"/>
              <p:cNvSpPr/>
              <p:nvPr/>
            </p:nvSpPr>
            <p:spPr>
              <a:xfrm rot="5400000">
                <a:off x="14210471" y="6150144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11" name="Afgeronde rechthoek 110"/>
              <p:cNvSpPr/>
              <p:nvPr/>
            </p:nvSpPr>
            <p:spPr>
              <a:xfrm>
                <a:off x="12390702" y="6322741"/>
                <a:ext cx="1973675" cy="268314"/>
              </a:xfrm>
              <a:prstGeom prst="roundRect">
                <a:avLst/>
              </a:prstGeom>
              <a:gradFill>
                <a:gsLst>
                  <a:gs pos="0">
                    <a:srgbClr val="FFF2BD"/>
                  </a:gs>
                  <a:gs pos="34000">
                    <a:srgbClr val="FFE98B"/>
                  </a:gs>
                  <a:gs pos="78000">
                    <a:srgbClr val="FFF5C9"/>
                  </a:gs>
                  <a:gs pos="59000">
                    <a:srgbClr val="FFE98B"/>
                  </a:gs>
                </a:gsLst>
                <a:lin ang="5400000" scaled="0"/>
              </a:gradFill>
              <a:ln w="635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tlCol="0" anchor="ctr"/>
              <a:lstStyle/>
              <a:p>
                <a:r>
                  <a:rPr lang="nl-NL" sz="1200">
                    <a:solidFill>
                      <a:schemeClr val="tx1"/>
                    </a:solidFill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Gegevens bewerken…</a:t>
                </a:r>
              </a:p>
            </p:txBody>
          </p:sp>
          <p:grpSp>
            <p:nvGrpSpPr>
              <p:cNvPr id="112" name="Groep 111"/>
              <p:cNvGrpSpPr/>
              <p:nvPr/>
            </p:nvGrpSpPr>
            <p:grpSpPr>
              <a:xfrm>
                <a:off x="12461788" y="6100223"/>
                <a:ext cx="204691" cy="170000"/>
                <a:chOff x="15171969" y="1587338"/>
                <a:chExt cx="755407" cy="627385"/>
              </a:xfrm>
            </p:grpSpPr>
            <p:sp>
              <p:nvSpPr>
                <p:cNvPr id="129" name="Rechthoek 962"/>
                <p:cNvSpPr/>
                <p:nvPr userDrawn="1"/>
              </p:nvSpPr>
              <p:spPr>
                <a:xfrm>
                  <a:off x="15171969" y="2008934"/>
                  <a:ext cx="755407" cy="205789"/>
                </a:xfrm>
                <a:custGeom>
                  <a:avLst/>
                  <a:gdLst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664132 w 664132"/>
                    <a:gd name="connsiteY2" fmla="*/ 27778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664132"/>
                    <a:gd name="connsiteY0" fmla="*/ 0 h 290487"/>
                    <a:gd name="connsiteX1" fmla="*/ 664132 w 664132"/>
                    <a:gd name="connsiteY1" fmla="*/ 0 h 290487"/>
                    <a:gd name="connsiteX2" fmla="*/ 333932 w 664132"/>
                    <a:gd name="connsiteY2" fmla="*/ 290487 h 290487"/>
                    <a:gd name="connsiteX3" fmla="*/ 0 w 664132"/>
                    <a:gd name="connsiteY3" fmla="*/ 277787 h 290487"/>
                    <a:gd name="connsiteX4" fmla="*/ 0 w 664132"/>
                    <a:gd name="connsiteY4" fmla="*/ 0 h 290487"/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575232 w 664132"/>
                    <a:gd name="connsiteY2" fmla="*/ 27143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708582"/>
                    <a:gd name="connsiteY0" fmla="*/ 0 h 277787"/>
                    <a:gd name="connsiteX1" fmla="*/ 708582 w 708582"/>
                    <a:gd name="connsiteY1" fmla="*/ 31750 h 277787"/>
                    <a:gd name="connsiteX2" fmla="*/ 575232 w 708582"/>
                    <a:gd name="connsiteY2" fmla="*/ 271437 h 277787"/>
                    <a:gd name="connsiteX3" fmla="*/ 0 w 708582"/>
                    <a:gd name="connsiteY3" fmla="*/ 277787 h 277787"/>
                    <a:gd name="connsiteX4" fmla="*/ 0 w 708582"/>
                    <a:gd name="connsiteY4" fmla="*/ 0 h 277787"/>
                    <a:gd name="connsiteX0" fmla="*/ 228600 w 708582"/>
                    <a:gd name="connsiteY0" fmla="*/ 6350 h 246037"/>
                    <a:gd name="connsiteX1" fmla="*/ 708582 w 708582"/>
                    <a:gd name="connsiteY1" fmla="*/ 0 h 246037"/>
                    <a:gd name="connsiteX2" fmla="*/ 575232 w 708582"/>
                    <a:gd name="connsiteY2" fmla="*/ 239687 h 246037"/>
                    <a:gd name="connsiteX3" fmla="*/ 0 w 708582"/>
                    <a:gd name="connsiteY3" fmla="*/ 246037 h 246037"/>
                    <a:gd name="connsiteX4" fmla="*/ 228600 w 708582"/>
                    <a:gd name="connsiteY4" fmla="*/ 6350 h 246037"/>
                    <a:gd name="connsiteX0" fmla="*/ 228600 w 778432"/>
                    <a:gd name="connsiteY0" fmla="*/ 0 h 239687"/>
                    <a:gd name="connsiteX1" fmla="*/ 778432 w 778432"/>
                    <a:gd name="connsiteY1" fmla="*/ 25400 h 239687"/>
                    <a:gd name="connsiteX2" fmla="*/ 575232 w 778432"/>
                    <a:gd name="connsiteY2" fmla="*/ 233337 h 239687"/>
                    <a:gd name="connsiteX3" fmla="*/ 0 w 778432"/>
                    <a:gd name="connsiteY3" fmla="*/ 239687 h 239687"/>
                    <a:gd name="connsiteX4" fmla="*/ 228600 w 778432"/>
                    <a:gd name="connsiteY4" fmla="*/ 0 h 239687"/>
                    <a:gd name="connsiteX0" fmla="*/ 228600 w 778432"/>
                    <a:gd name="connsiteY0" fmla="*/ 0 h 214287"/>
                    <a:gd name="connsiteX1" fmla="*/ 778432 w 778432"/>
                    <a:gd name="connsiteY1" fmla="*/ 0 h 214287"/>
                    <a:gd name="connsiteX2" fmla="*/ 575232 w 778432"/>
                    <a:gd name="connsiteY2" fmla="*/ 207937 h 214287"/>
                    <a:gd name="connsiteX3" fmla="*/ 0 w 778432"/>
                    <a:gd name="connsiteY3" fmla="*/ 214287 h 214287"/>
                    <a:gd name="connsiteX4" fmla="*/ 228600 w 778432"/>
                    <a:gd name="connsiteY4" fmla="*/ 0 h 214287"/>
                    <a:gd name="connsiteX0" fmla="*/ 228600 w 730724"/>
                    <a:gd name="connsiteY0" fmla="*/ 3975 h 218262"/>
                    <a:gd name="connsiteX1" fmla="*/ 730724 w 730724"/>
                    <a:gd name="connsiteY1" fmla="*/ 0 h 218262"/>
                    <a:gd name="connsiteX2" fmla="*/ 575232 w 730724"/>
                    <a:gd name="connsiteY2" fmla="*/ 211912 h 218262"/>
                    <a:gd name="connsiteX3" fmla="*/ 0 w 730724"/>
                    <a:gd name="connsiteY3" fmla="*/ 218262 h 218262"/>
                    <a:gd name="connsiteX4" fmla="*/ 228600 w 730724"/>
                    <a:gd name="connsiteY4" fmla="*/ 3975 h 218262"/>
                    <a:gd name="connsiteX0" fmla="*/ 252454 w 754578"/>
                    <a:gd name="connsiteY0" fmla="*/ 3975 h 211912"/>
                    <a:gd name="connsiteX1" fmla="*/ 754578 w 754578"/>
                    <a:gd name="connsiteY1" fmla="*/ 0 h 211912"/>
                    <a:gd name="connsiteX2" fmla="*/ 599086 w 754578"/>
                    <a:gd name="connsiteY2" fmla="*/ 211912 h 211912"/>
                    <a:gd name="connsiteX3" fmla="*/ 0 w 754578"/>
                    <a:gd name="connsiteY3" fmla="*/ 210311 h 211912"/>
                    <a:gd name="connsiteX4" fmla="*/ 252454 w 754578"/>
                    <a:gd name="connsiteY4" fmla="*/ 3975 h 211912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599086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754578"/>
                    <a:gd name="connsiteY0" fmla="*/ 0 h 223840"/>
                    <a:gd name="connsiteX1" fmla="*/ 754578 w 754578"/>
                    <a:gd name="connsiteY1" fmla="*/ 7952 h 223840"/>
                    <a:gd name="connsiteX2" fmla="*/ 654745 w 754578"/>
                    <a:gd name="connsiteY2" fmla="*/ 223840 h 223840"/>
                    <a:gd name="connsiteX3" fmla="*/ 0 w 754578"/>
                    <a:gd name="connsiteY3" fmla="*/ 218263 h 223840"/>
                    <a:gd name="connsiteX4" fmla="*/ 172941 w 754578"/>
                    <a:gd name="connsiteY4" fmla="*/ 0 h 223840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646793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818189"/>
                    <a:gd name="connsiteY0" fmla="*/ 0 h 219864"/>
                    <a:gd name="connsiteX1" fmla="*/ 818189 w 818189"/>
                    <a:gd name="connsiteY1" fmla="*/ 31806 h 219864"/>
                    <a:gd name="connsiteX2" fmla="*/ 646793 w 818189"/>
                    <a:gd name="connsiteY2" fmla="*/ 219864 h 219864"/>
                    <a:gd name="connsiteX3" fmla="*/ 0 w 818189"/>
                    <a:gd name="connsiteY3" fmla="*/ 218263 h 219864"/>
                    <a:gd name="connsiteX4" fmla="*/ 172941 w 818189"/>
                    <a:gd name="connsiteY4" fmla="*/ 0 h 219864"/>
                    <a:gd name="connsiteX0" fmla="*/ 172941 w 806262"/>
                    <a:gd name="connsiteY0" fmla="*/ 0 h 219864"/>
                    <a:gd name="connsiteX1" fmla="*/ 806262 w 806262"/>
                    <a:gd name="connsiteY1" fmla="*/ 11928 h 219864"/>
                    <a:gd name="connsiteX2" fmla="*/ 646793 w 806262"/>
                    <a:gd name="connsiteY2" fmla="*/ 219864 h 219864"/>
                    <a:gd name="connsiteX3" fmla="*/ 0 w 806262"/>
                    <a:gd name="connsiteY3" fmla="*/ 218263 h 219864"/>
                    <a:gd name="connsiteX4" fmla="*/ 172941 w 806262"/>
                    <a:gd name="connsiteY4" fmla="*/ 0 h 219864"/>
                    <a:gd name="connsiteX0" fmla="*/ 172941 w 798310"/>
                    <a:gd name="connsiteY0" fmla="*/ 0 h 219864"/>
                    <a:gd name="connsiteX1" fmla="*/ 798310 w 798310"/>
                    <a:gd name="connsiteY1" fmla="*/ 15903 h 219864"/>
                    <a:gd name="connsiteX2" fmla="*/ 646793 w 798310"/>
                    <a:gd name="connsiteY2" fmla="*/ 219864 h 219864"/>
                    <a:gd name="connsiteX3" fmla="*/ 0 w 798310"/>
                    <a:gd name="connsiteY3" fmla="*/ 218263 h 219864"/>
                    <a:gd name="connsiteX4" fmla="*/ 172941 w 798310"/>
                    <a:gd name="connsiteY4" fmla="*/ 0 h 219864"/>
                    <a:gd name="connsiteX0" fmla="*/ 172941 w 798310"/>
                    <a:gd name="connsiteY0" fmla="*/ 0 h 259620"/>
                    <a:gd name="connsiteX1" fmla="*/ 798310 w 798310"/>
                    <a:gd name="connsiteY1" fmla="*/ 15903 h 259620"/>
                    <a:gd name="connsiteX2" fmla="*/ 614988 w 798310"/>
                    <a:gd name="connsiteY2" fmla="*/ 259620 h 259620"/>
                    <a:gd name="connsiteX3" fmla="*/ 0 w 798310"/>
                    <a:gd name="connsiteY3" fmla="*/ 218263 h 259620"/>
                    <a:gd name="connsiteX4" fmla="*/ 172941 w 798310"/>
                    <a:gd name="connsiteY4" fmla="*/ 0 h 259620"/>
                    <a:gd name="connsiteX0" fmla="*/ 188843 w 814212"/>
                    <a:gd name="connsiteY0" fmla="*/ 0 h 259620"/>
                    <a:gd name="connsiteX1" fmla="*/ 814212 w 814212"/>
                    <a:gd name="connsiteY1" fmla="*/ 15903 h 259620"/>
                    <a:gd name="connsiteX2" fmla="*/ 630890 w 814212"/>
                    <a:gd name="connsiteY2" fmla="*/ 259620 h 259620"/>
                    <a:gd name="connsiteX3" fmla="*/ 0 w 814212"/>
                    <a:gd name="connsiteY3" fmla="*/ 254043 h 259620"/>
                    <a:gd name="connsiteX4" fmla="*/ 188843 w 814212"/>
                    <a:gd name="connsiteY4" fmla="*/ 0 h 259620"/>
                    <a:gd name="connsiteX0" fmla="*/ 208721 w 834090"/>
                    <a:gd name="connsiteY0" fmla="*/ 0 h 259620"/>
                    <a:gd name="connsiteX1" fmla="*/ 834090 w 834090"/>
                    <a:gd name="connsiteY1" fmla="*/ 15903 h 259620"/>
                    <a:gd name="connsiteX2" fmla="*/ 650768 w 834090"/>
                    <a:gd name="connsiteY2" fmla="*/ 259620 h 259620"/>
                    <a:gd name="connsiteX3" fmla="*/ 0 w 834090"/>
                    <a:gd name="connsiteY3" fmla="*/ 254043 h 259620"/>
                    <a:gd name="connsiteX4" fmla="*/ 208721 w 834090"/>
                    <a:gd name="connsiteY4" fmla="*/ 0 h 259620"/>
                    <a:gd name="connsiteX0" fmla="*/ 268356 w 893725"/>
                    <a:gd name="connsiteY0" fmla="*/ 0 h 259620"/>
                    <a:gd name="connsiteX1" fmla="*/ 893725 w 893725"/>
                    <a:gd name="connsiteY1" fmla="*/ 15903 h 259620"/>
                    <a:gd name="connsiteX2" fmla="*/ 710403 w 893725"/>
                    <a:gd name="connsiteY2" fmla="*/ 259620 h 259620"/>
                    <a:gd name="connsiteX3" fmla="*/ 0 w 893725"/>
                    <a:gd name="connsiteY3" fmla="*/ 254043 h 259620"/>
                    <a:gd name="connsiteX4" fmla="*/ 268356 w 893725"/>
                    <a:gd name="connsiteY4" fmla="*/ 0 h 259620"/>
                    <a:gd name="connsiteX0" fmla="*/ 260405 w 885774"/>
                    <a:gd name="connsiteY0" fmla="*/ 0 h 259620"/>
                    <a:gd name="connsiteX1" fmla="*/ 885774 w 885774"/>
                    <a:gd name="connsiteY1" fmla="*/ 15903 h 259620"/>
                    <a:gd name="connsiteX2" fmla="*/ 702452 w 885774"/>
                    <a:gd name="connsiteY2" fmla="*/ 259620 h 259620"/>
                    <a:gd name="connsiteX3" fmla="*/ 0 w 885774"/>
                    <a:gd name="connsiteY3" fmla="*/ 254043 h 259620"/>
                    <a:gd name="connsiteX4" fmla="*/ 260405 w 885774"/>
                    <a:gd name="connsiteY4" fmla="*/ 0 h 259620"/>
                    <a:gd name="connsiteX0" fmla="*/ 220648 w 885774"/>
                    <a:gd name="connsiteY0" fmla="*/ 0 h 243717"/>
                    <a:gd name="connsiteX1" fmla="*/ 885774 w 885774"/>
                    <a:gd name="connsiteY1" fmla="*/ 0 h 243717"/>
                    <a:gd name="connsiteX2" fmla="*/ 702452 w 885774"/>
                    <a:gd name="connsiteY2" fmla="*/ 243717 h 243717"/>
                    <a:gd name="connsiteX3" fmla="*/ 0 w 885774"/>
                    <a:gd name="connsiteY3" fmla="*/ 238140 h 243717"/>
                    <a:gd name="connsiteX4" fmla="*/ 220648 w 885774"/>
                    <a:gd name="connsiteY4" fmla="*/ 0 h 243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5774" h="243717">
                      <a:moveTo>
                        <a:pt x="220648" y="0"/>
                      </a:moveTo>
                      <a:lnTo>
                        <a:pt x="885774" y="0"/>
                      </a:lnTo>
                      <a:lnTo>
                        <a:pt x="702452" y="243717"/>
                      </a:lnTo>
                      <a:lnTo>
                        <a:pt x="0" y="238140"/>
                      </a:lnTo>
                      <a:lnTo>
                        <a:pt x="220648" y="0"/>
                      </a:lnTo>
                      <a:close/>
                    </a:path>
                  </a:pathLst>
                </a:cu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>
                  <a:softEdge rad="31750"/>
                </a:effectLst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30" name="Groep 129"/>
                <p:cNvGrpSpPr/>
                <p:nvPr userDrawn="1"/>
              </p:nvGrpSpPr>
              <p:grpSpPr>
                <a:xfrm>
                  <a:off x="15281106" y="1587338"/>
                  <a:ext cx="511775" cy="560304"/>
                  <a:chOff x="10604642" y="969717"/>
                  <a:chExt cx="1290643" cy="1427163"/>
                </a:xfrm>
              </p:grpSpPr>
              <p:grpSp>
                <p:nvGrpSpPr>
                  <p:cNvPr id="131" name="Group 879"/>
                  <p:cNvGrpSpPr>
                    <a:grpSpLocks noChangeAspect="1"/>
                  </p:cNvGrpSpPr>
                  <p:nvPr userDrawn="1"/>
                </p:nvGrpSpPr>
                <p:grpSpPr bwMode="auto">
                  <a:xfrm>
                    <a:off x="10604642" y="969717"/>
                    <a:ext cx="1290643" cy="1427163"/>
                    <a:chOff x="4798" y="1515"/>
                    <a:chExt cx="813" cy="899"/>
                  </a:xfrm>
                </p:grpSpPr>
                <p:sp>
                  <p:nvSpPr>
                    <p:cNvPr id="133" name="Freeform 886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269" y="1515"/>
                      <a:ext cx="71" cy="898"/>
                    </a:xfrm>
                    <a:custGeom>
                      <a:avLst/>
                      <a:gdLst>
                        <a:gd name="T0" fmla="*/ 282 w 282"/>
                        <a:gd name="T1" fmla="*/ 0 h 3595"/>
                        <a:gd name="T2" fmla="*/ 282 w 282"/>
                        <a:gd name="T3" fmla="*/ 3138 h 3595"/>
                        <a:gd name="T4" fmla="*/ 0 w 282"/>
                        <a:gd name="T5" fmla="*/ 3595 h 3595"/>
                        <a:gd name="T6" fmla="*/ 0 w 282"/>
                        <a:gd name="T7" fmla="*/ 285 h 3595"/>
                        <a:gd name="T8" fmla="*/ 282 w 282"/>
                        <a:gd name="T9" fmla="*/ 0 h 35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2" h="3595">
                          <a:moveTo>
                            <a:pt x="282" y="0"/>
                          </a:moveTo>
                          <a:lnTo>
                            <a:pt x="282" y="3138"/>
                          </a:lnTo>
                          <a:lnTo>
                            <a:pt x="0" y="3595"/>
                          </a:lnTo>
                          <a:lnTo>
                            <a:pt x="0" y="285"/>
                          </a:lnTo>
                          <a:lnTo>
                            <a:pt x="282" y="0"/>
                          </a:lnTo>
                          <a:close/>
                        </a:path>
                      </a:pathLst>
                    </a:custGeom>
                    <a:solidFill>
                      <a:srgbClr val="FFC000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4" name="Rectangle 880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515"/>
                      <a:ext cx="813" cy="899"/>
                    </a:xfrm>
                    <a:prstGeom prst="rect">
                      <a:avLst/>
                    </a:prstGeom>
                    <a:no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5" name="Rectangle 881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857"/>
                      <a:ext cx="228" cy="55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002060"/>
                        </a:gs>
                        <a:gs pos="100000">
                          <a:srgbClr val="1929FF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6" name="Freeform 882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4798" y="1771"/>
                      <a:ext cx="314" cy="86"/>
                    </a:xfrm>
                    <a:custGeom>
                      <a:avLst/>
                      <a:gdLst>
                        <a:gd name="T0" fmla="*/ 411 w 1255"/>
                        <a:gd name="T1" fmla="*/ 0 h 342"/>
                        <a:gd name="T2" fmla="*/ 1255 w 1255"/>
                        <a:gd name="T3" fmla="*/ 0 h 342"/>
                        <a:gd name="T4" fmla="*/ 913 w 1255"/>
                        <a:gd name="T5" fmla="*/ 342 h 342"/>
                        <a:gd name="T6" fmla="*/ 0 w 1255"/>
                        <a:gd name="T7" fmla="*/ 342 h 342"/>
                        <a:gd name="T8" fmla="*/ 411 w 1255"/>
                        <a:gd name="T9" fmla="*/ 0 h 3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55" h="342">
                          <a:moveTo>
                            <a:pt x="411" y="0"/>
                          </a:moveTo>
                          <a:lnTo>
                            <a:pt x="1255" y="0"/>
                          </a:lnTo>
                          <a:lnTo>
                            <a:pt x="913" y="342"/>
                          </a:lnTo>
                          <a:lnTo>
                            <a:pt x="0" y="342"/>
                          </a:lnTo>
                          <a:lnTo>
                            <a:pt x="411" y="0"/>
                          </a:lnTo>
                          <a:close/>
                        </a:path>
                      </a:pathLst>
                    </a:custGeom>
                    <a:solidFill>
                      <a:srgbClr val="0039AC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7" name="Freeform 883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26" y="1771"/>
                      <a:ext cx="85" cy="642"/>
                    </a:xfrm>
                    <a:custGeom>
                      <a:avLst/>
                      <a:gdLst>
                        <a:gd name="T0" fmla="*/ 342 w 342"/>
                        <a:gd name="T1" fmla="*/ 0 h 2568"/>
                        <a:gd name="T2" fmla="*/ 342 w 342"/>
                        <a:gd name="T3" fmla="*/ 2111 h 2568"/>
                        <a:gd name="T4" fmla="*/ 0 w 342"/>
                        <a:gd name="T5" fmla="*/ 2568 h 2568"/>
                        <a:gd name="T6" fmla="*/ 0 w 342"/>
                        <a:gd name="T7" fmla="*/ 342 h 2568"/>
                        <a:gd name="T8" fmla="*/ 342 w 342"/>
                        <a:gd name="T9" fmla="*/ 0 h 25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568">
                          <a:moveTo>
                            <a:pt x="342" y="0"/>
                          </a:moveTo>
                          <a:lnTo>
                            <a:pt x="342" y="2111"/>
                          </a:lnTo>
                          <a:lnTo>
                            <a:pt x="0" y="2568"/>
                          </a:lnTo>
                          <a:lnTo>
                            <a:pt x="0" y="342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000075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8" name="Freeform 884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54" y="1515"/>
                      <a:ext cx="286" cy="72"/>
                    </a:xfrm>
                    <a:custGeom>
                      <a:avLst/>
                      <a:gdLst>
                        <a:gd name="T0" fmla="*/ 318 w 1140"/>
                        <a:gd name="T1" fmla="*/ 0 h 289"/>
                        <a:gd name="T2" fmla="*/ 1140 w 1140"/>
                        <a:gd name="T3" fmla="*/ 0 h 289"/>
                        <a:gd name="T4" fmla="*/ 855 w 1140"/>
                        <a:gd name="T5" fmla="*/ 289 h 289"/>
                        <a:gd name="T6" fmla="*/ 0 w 1140"/>
                        <a:gd name="T7" fmla="*/ 289 h 289"/>
                        <a:gd name="T8" fmla="*/ 318 w 1140"/>
                        <a:gd name="T9" fmla="*/ 0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40" h="289">
                          <a:moveTo>
                            <a:pt x="318" y="0"/>
                          </a:moveTo>
                          <a:lnTo>
                            <a:pt x="1140" y="0"/>
                          </a:lnTo>
                          <a:lnTo>
                            <a:pt x="855" y="289"/>
                          </a:lnTo>
                          <a:lnTo>
                            <a:pt x="0" y="289"/>
                          </a:lnTo>
                          <a:lnTo>
                            <a:pt x="318" y="0"/>
                          </a:lnTo>
                          <a:close/>
                        </a:path>
                      </a:pathLst>
                    </a:custGeom>
                    <a:solidFill>
                      <a:srgbClr val="EEFF26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9" name="Rectangle 885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054" y="1587"/>
                      <a:ext cx="215" cy="82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FFC000"/>
                        </a:gs>
                        <a:gs pos="100000">
                          <a:srgbClr val="FFFF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40" name="Rectangle 887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298" y="1771"/>
                      <a:ext cx="228" cy="643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B80004"/>
                        </a:gs>
                        <a:gs pos="100000">
                          <a:srgbClr val="FF00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41" name="Freeform 888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526" y="1686"/>
                      <a:ext cx="85" cy="727"/>
                    </a:xfrm>
                    <a:custGeom>
                      <a:avLst/>
                      <a:gdLst>
                        <a:gd name="T0" fmla="*/ 342 w 342"/>
                        <a:gd name="T1" fmla="*/ 0 h 2911"/>
                        <a:gd name="T2" fmla="*/ 342 w 342"/>
                        <a:gd name="T3" fmla="*/ 2477 h 2911"/>
                        <a:gd name="T4" fmla="*/ 0 w 342"/>
                        <a:gd name="T5" fmla="*/ 2911 h 2911"/>
                        <a:gd name="T6" fmla="*/ 0 w 342"/>
                        <a:gd name="T7" fmla="*/ 334 h 2911"/>
                        <a:gd name="T8" fmla="*/ 342 w 342"/>
                        <a:gd name="T9" fmla="*/ 0 h 29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911">
                          <a:moveTo>
                            <a:pt x="342" y="0"/>
                          </a:moveTo>
                          <a:lnTo>
                            <a:pt x="342" y="2477"/>
                          </a:lnTo>
                          <a:lnTo>
                            <a:pt x="0" y="2911"/>
                          </a:lnTo>
                          <a:lnTo>
                            <a:pt x="0" y="334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C2001B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</p:grpSp>
              <p:sp>
                <p:nvSpPr>
                  <p:cNvPr id="132" name="Vrije vorm 131"/>
                  <p:cNvSpPr/>
                  <p:nvPr userDrawn="1"/>
                </p:nvSpPr>
                <p:spPr>
                  <a:xfrm>
                    <a:off x="11389225" y="1241176"/>
                    <a:ext cx="506025" cy="137883"/>
                  </a:xfrm>
                  <a:custGeom>
                    <a:avLst/>
                    <a:gdLst>
                      <a:gd name="connsiteX0" fmla="*/ 0 w 508407"/>
                      <a:gd name="connsiteY0" fmla="*/ 142646 h 146304"/>
                      <a:gd name="connsiteX1" fmla="*/ 369418 w 508407"/>
                      <a:gd name="connsiteY1" fmla="*/ 146304 h 146304"/>
                      <a:gd name="connsiteX2" fmla="*/ 508407 w 508407"/>
                      <a:gd name="connsiteY2" fmla="*/ 0 h 146304"/>
                      <a:gd name="connsiteX3" fmla="*/ 168250 w 508407"/>
                      <a:gd name="connsiteY3" fmla="*/ 0 h 146304"/>
                      <a:gd name="connsiteX4" fmla="*/ 0 w 508407"/>
                      <a:gd name="connsiteY4" fmla="*/ 142646 h 146304"/>
                      <a:gd name="connsiteX0" fmla="*/ 0 w 508407"/>
                      <a:gd name="connsiteY0" fmla="*/ 142646 h 142646"/>
                      <a:gd name="connsiteX1" fmla="*/ 376562 w 508407"/>
                      <a:gd name="connsiteY1" fmla="*/ 136779 h 142646"/>
                      <a:gd name="connsiteX2" fmla="*/ 508407 w 508407"/>
                      <a:gd name="connsiteY2" fmla="*/ 0 h 142646"/>
                      <a:gd name="connsiteX3" fmla="*/ 168250 w 508407"/>
                      <a:gd name="connsiteY3" fmla="*/ 0 h 142646"/>
                      <a:gd name="connsiteX4" fmla="*/ 0 w 508407"/>
                      <a:gd name="connsiteY4" fmla="*/ 142646 h 142646"/>
                      <a:gd name="connsiteX0" fmla="*/ 0 w 506025"/>
                      <a:gd name="connsiteY0" fmla="*/ 137883 h 137883"/>
                      <a:gd name="connsiteX1" fmla="*/ 374180 w 506025"/>
                      <a:gd name="connsiteY1" fmla="*/ 136779 h 137883"/>
                      <a:gd name="connsiteX2" fmla="*/ 506025 w 506025"/>
                      <a:gd name="connsiteY2" fmla="*/ 0 h 137883"/>
                      <a:gd name="connsiteX3" fmla="*/ 165868 w 506025"/>
                      <a:gd name="connsiteY3" fmla="*/ 0 h 137883"/>
                      <a:gd name="connsiteX4" fmla="*/ 0 w 506025"/>
                      <a:gd name="connsiteY4" fmla="*/ 137883 h 1378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6025" h="137883">
                        <a:moveTo>
                          <a:pt x="0" y="137883"/>
                        </a:moveTo>
                        <a:lnTo>
                          <a:pt x="374180" y="136779"/>
                        </a:lnTo>
                        <a:lnTo>
                          <a:pt x="506025" y="0"/>
                        </a:lnTo>
                        <a:lnTo>
                          <a:pt x="165868" y="0"/>
                        </a:lnTo>
                        <a:lnTo>
                          <a:pt x="0" y="137883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  <p:grpSp>
            <p:nvGrpSpPr>
              <p:cNvPr id="113" name="Groep 112"/>
              <p:cNvGrpSpPr/>
              <p:nvPr/>
            </p:nvGrpSpPr>
            <p:grpSpPr>
              <a:xfrm>
                <a:off x="12468521" y="6356844"/>
                <a:ext cx="133446" cy="114786"/>
                <a:chOff x="14587469" y="6356844"/>
                <a:chExt cx="133446" cy="114786"/>
              </a:xfrm>
            </p:grpSpPr>
            <p:sp>
              <p:nvSpPr>
                <p:cNvPr id="119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4588703" y="6379233"/>
                  <a:ext cx="130780" cy="91699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chemeClr val="bg2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0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4587469" y="6423761"/>
                  <a:ext cx="131076" cy="1446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1" name="Freeform 14"/>
                <p:cNvSpPr>
                  <a:spLocks noEditPoints="1"/>
                </p:cNvSpPr>
                <p:nvPr userDrawn="1"/>
              </p:nvSpPr>
              <p:spPr bwMode="auto">
                <a:xfrm>
                  <a:off x="14588901" y="6356844"/>
                  <a:ext cx="132014" cy="114786"/>
                </a:xfrm>
                <a:custGeom>
                  <a:avLst/>
                  <a:gdLst>
                    <a:gd name="T0" fmla="*/ 48 w 5347"/>
                    <a:gd name="T1" fmla="*/ 48 h 4605"/>
                    <a:gd name="T2" fmla="*/ 48 w 5347"/>
                    <a:gd name="T3" fmla="*/ 4557 h 4605"/>
                    <a:gd name="T4" fmla="*/ 5299 w 5347"/>
                    <a:gd name="T5" fmla="*/ 4557 h 4605"/>
                    <a:gd name="T6" fmla="*/ 5299 w 5347"/>
                    <a:gd name="T7" fmla="*/ 48 h 4605"/>
                    <a:gd name="T8" fmla="*/ 48 w 5347"/>
                    <a:gd name="T9" fmla="*/ 48 h 4605"/>
                    <a:gd name="T10" fmla="*/ 0 w 5347"/>
                    <a:gd name="T11" fmla="*/ 0 h 4605"/>
                    <a:gd name="T12" fmla="*/ 5347 w 5347"/>
                    <a:gd name="T13" fmla="*/ 0 h 4605"/>
                    <a:gd name="T14" fmla="*/ 5347 w 5347"/>
                    <a:gd name="T15" fmla="*/ 4605 h 4605"/>
                    <a:gd name="T16" fmla="*/ 0 w 5347"/>
                    <a:gd name="T17" fmla="*/ 4605 h 4605"/>
                    <a:gd name="T18" fmla="*/ 0 w 5347"/>
                    <a:gd name="T19" fmla="*/ 0 h 46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47" h="4605">
                      <a:moveTo>
                        <a:pt x="48" y="48"/>
                      </a:moveTo>
                      <a:lnTo>
                        <a:pt x="48" y="4557"/>
                      </a:lnTo>
                      <a:lnTo>
                        <a:pt x="5299" y="4557"/>
                      </a:lnTo>
                      <a:lnTo>
                        <a:pt x="5299" y="48"/>
                      </a:lnTo>
                      <a:lnTo>
                        <a:pt x="48" y="48"/>
                      </a:lnTo>
                      <a:close/>
                      <a:moveTo>
                        <a:pt x="0" y="0"/>
                      </a:moveTo>
                      <a:lnTo>
                        <a:pt x="5347" y="0"/>
                      </a:lnTo>
                      <a:lnTo>
                        <a:pt x="5347" y="4605"/>
                      </a:lnTo>
                      <a:lnTo>
                        <a:pt x="0" y="460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E5D8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cxnSp>
              <p:nvCxnSpPr>
                <p:cNvPr id="122" name="Rechte verbindingslijn 121"/>
                <p:cNvCxnSpPr/>
                <p:nvPr userDrawn="1"/>
              </p:nvCxnSpPr>
              <p:spPr>
                <a:xfrm flipH="1">
                  <a:off x="14654334" y="6382168"/>
                  <a:ext cx="162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Rechte verbindingslijn 122"/>
                <p:cNvCxnSpPr/>
                <p:nvPr userDrawn="1"/>
              </p:nvCxnSpPr>
              <p:spPr>
                <a:xfrm>
                  <a:off x="14689188" y="6382168"/>
                  <a:ext cx="0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Rechte verbindingslijn 123"/>
                <p:cNvCxnSpPr/>
                <p:nvPr userDrawn="1"/>
              </p:nvCxnSpPr>
              <p:spPr>
                <a:xfrm>
                  <a:off x="14619892" y="6382040"/>
                  <a:ext cx="0" cy="8577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Rechte verbindingslijn 124"/>
                <p:cNvCxnSpPr/>
                <p:nvPr userDrawn="1"/>
              </p:nvCxnSpPr>
              <p:spPr>
                <a:xfrm flipH="1">
                  <a:off x="14593115" y="6400164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Rechte verbindingslijn 125"/>
                <p:cNvCxnSpPr/>
                <p:nvPr userDrawn="1"/>
              </p:nvCxnSpPr>
              <p:spPr>
                <a:xfrm flipH="1">
                  <a:off x="14593115" y="6423860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Rechte verbindingslijn 126"/>
                <p:cNvCxnSpPr/>
                <p:nvPr userDrawn="1"/>
              </p:nvCxnSpPr>
              <p:spPr>
                <a:xfrm flipH="1">
                  <a:off x="14593115" y="6447556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8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4590283" y="6359138"/>
                  <a:ext cx="128657" cy="19347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192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14" name="Groep 113"/>
              <p:cNvGrpSpPr/>
              <p:nvPr/>
            </p:nvGrpSpPr>
            <p:grpSpPr>
              <a:xfrm>
                <a:off x="12529899" y="6421402"/>
                <a:ext cx="97399" cy="97399"/>
                <a:chOff x="14546483" y="5323041"/>
                <a:chExt cx="242460" cy="242460"/>
              </a:xfrm>
            </p:grpSpPr>
            <p:sp>
              <p:nvSpPr>
                <p:cNvPr id="115" name="Rechthoek 114"/>
                <p:cNvSpPr/>
                <p:nvPr userDrawn="1"/>
              </p:nvSpPr>
              <p:spPr>
                <a:xfrm>
                  <a:off x="14546483" y="5323041"/>
                  <a:ext cx="242460" cy="242460"/>
                </a:xfrm>
                <a:prstGeom prst="rect">
                  <a:avLst/>
                </a:prstGeom>
                <a:solidFill>
                  <a:schemeClr val="bg1"/>
                </a:solidFill>
                <a:ln w="6350">
                  <a:solidFill>
                    <a:srgbClr val="00A4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16" name="Groep 115"/>
                <p:cNvGrpSpPr/>
                <p:nvPr/>
              </p:nvGrpSpPr>
              <p:grpSpPr>
                <a:xfrm>
                  <a:off x="14568035" y="5357818"/>
                  <a:ext cx="199836" cy="175226"/>
                  <a:chOff x="14559757" y="5349611"/>
                  <a:chExt cx="216392" cy="191641"/>
                </a:xfrm>
              </p:grpSpPr>
              <p:sp>
                <p:nvSpPr>
                  <p:cNvPr id="117" name="Parallellogram 116"/>
                  <p:cNvSpPr/>
                  <p:nvPr/>
                </p:nvSpPr>
                <p:spPr>
                  <a:xfrm>
                    <a:off x="14559757" y="5369222"/>
                    <a:ext cx="214316" cy="147762"/>
                  </a:xfrm>
                  <a:prstGeom prst="parallelogram">
                    <a:avLst>
                      <a:gd name="adj" fmla="val 93909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18" name="Parallellogram 117"/>
                  <p:cNvSpPr/>
                  <p:nvPr/>
                </p:nvSpPr>
                <p:spPr>
                  <a:xfrm flipH="1">
                    <a:off x="14561833" y="5349611"/>
                    <a:ext cx="214316" cy="191641"/>
                  </a:xfrm>
                  <a:prstGeom prst="parallelogram">
                    <a:avLst>
                      <a:gd name="adj" fmla="val 68946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</p:grpSp>
        <p:sp>
          <p:nvSpPr>
            <p:cNvPr id="90" name="Rechthoek 89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RAFIEK INVOEGEN</a:t>
              </a:r>
            </a:p>
          </p:txBody>
        </p:sp>
        <p:sp>
          <p:nvSpPr>
            <p:cNvPr id="91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Klik op het icoon om een grafiek </a:t>
              </a:r>
              <a:b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in te voegen</a:t>
              </a:r>
            </a:p>
          </p:txBody>
        </p:sp>
        <p:sp>
          <p:nvSpPr>
            <p:cNvPr id="92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eer de grafiek die u wilt </a:t>
              </a:r>
              <a:b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invoegen en klik op </a:t>
              </a:r>
              <a:r>
                <a:rPr lang="nl-NL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Invoegen’</a:t>
              </a:r>
            </a:p>
          </p:txBody>
        </p:sp>
        <p:sp>
          <p:nvSpPr>
            <p:cNvPr id="93" name="Ovaal 92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94" name="Ovaal 93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95" name="Rechte verbindingslijn 94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6" name="Rechte verbindingslijn 95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7" name="Rechte verbindingslijn 96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8" name="Tekstvak 33"/>
            <p:cNvSpPr txBox="1"/>
            <p:nvPr/>
          </p:nvSpPr>
          <p:spPr>
            <a:xfrm>
              <a:off x="12479311" y="5259838"/>
              <a:ext cx="2588841" cy="447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eer de grafiek, klik op de rechter muisknop en kies </a:t>
              </a:r>
              <a:r>
                <a:rPr lang="nl-NL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Gegevens bewerken’</a:t>
              </a:r>
            </a:p>
          </p:txBody>
        </p:sp>
        <p:cxnSp>
          <p:nvCxnSpPr>
            <p:cNvPr id="99" name="Rechte verbindingslijn 98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100" name="Groep 99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104" name="Afgeronde rechthoek 103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105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/>
                  <a:t>Invoegen</a:t>
                </a:r>
              </a:p>
            </p:txBody>
          </p:sp>
          <p:cxnSp>
            <p:nvCxnSpPr>
              <p:cNvPr id="106" name="Rechte verbindingslijn 105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7" name="Gelijkbenige driehoek 106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/>
              </a:p>
            </p:txBody>
          </p:sp>
        </p:grpSp>
        <p:sp>
          <p:nvSpPr>
            <p:cNvPr id="101" name="Rechthoek 100"/>
            <p:cNvSpPr/>
            <p:nvPr/>
          </p:nvSpPr>
          <p:spPr>
            <a:xfrm>
              <a:off x="12483705" y="4856599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RAFIEK BEWERKEN</a:t>
              </a:r>
            </a:p>
          </p:txBody>
        </p:sp>
        <p:cxnSp>
          <p:nvCxnSpPr>
            <p:cNvPr id="102" name="Rechte verbindingslijn 101"/>
            <p:cNvCxnSpPr/>
            <p:nvPr/>
          </p:nvCxnSpPr>
          <p:spPr>
            <a:xfrm>
              <a:off x="12487778" y="5145063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103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54186" y="6395104"/>
              <a:ext cx="158644" cy="2564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25976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Tabel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/>
              <a:t>Tekst + Tabel (50%/50%)</a:t>
            </a:r>
            <a:endParaRPr lang="nl-NL"/>
          </a:p>
        </p:txBody>
      </p:sp>
      <p:sp>
        <p:nvSpPr>
          <p:cNvPr id="86" name="Tijdelijke aanduiding voor tabel 13"/>
          <p:cNvSpPr>
            <a:spLocks noGrp="1"/>
          </p:cNvSpPr>
          <p:nvPr>
            <p:ph type="tbl" sz="quarter" idx="15"/>
          </p:nvPr>
        </p:nvSpPr>
        <p:spPr>
          <a:xfrm>
            <a:off x="6159500" y="1092201"/>
            <a:ext cx="5574625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US"/>
              <a:t>Click icon to add table</a:t>
            </a:r>
            <a:endParaRPr lang="nl-NL"/>
          </a:p>
        </p:txBody>
      </p:sp>
      <p:sp>
        <p:nvSpPr>
          <p:cNvPr id="84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9" y="1092201"/>
            <a:ext cx="5286867" cy="4680000"/>
          </a:xfrm>
        </p:spPr>
        <p:txBody>
          <a:bodyPr vert="horz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85" name="Groep 84"/>
          <p:cNvGrpSpPr/>
          <p:nvPr userDrawn="1"/>
        </p:nvGrpSpPr>
        <p:grpSpPr>
          <a:xfrm>
            <a:off x="12850330" y="21157"/>
            <a:ext cx="2609094" cy="4339920"/>
            <a:chOff x="12470972" y="-5444"/>
            <a:chExt cx="2609094" cy="4339920"/>
          </a:xfrm>
        </p:grpSpPr>
        <p:grpSp>
          <p:nvGrpSpPr>
            <p:cNvPr id="87" name="Groep 86"/>
            <p:cNvGrpSpPr/>
            <p:nvPr/>
          </p:nvGrpSpPr>
          <p:grpSpPr>
            <a:xfrm>
              <a:off x="12478620" y="1489205"/>
              <a:ext cx="615489" cy="522454"/>
              <a:chOff x="3793456" y="3603"/>
              <a:chExt cx="4527394" cy="473968"/>
            </a:xfrm>
          </p:grpSpPr>
          <p:grpSp>
            <p:nvGrpSpPr>
              <p:cNvPr id="101" name="Group 4"/>
              <p:cNvGrpSpPr>
                <a:grpSpLocks noChangeAspect="1"/>
              </p:cNvGrpSpPr>
              <p:nvPr userDrawn="1"/>
            </p:nvGrpSpPr>
            <p:grpSpPr bwMode="auto">
              <a:xfrm>
                <a:off x="3793456" y="3603"/>
                <a:ext cx="4526989" cy="473968"/>
                <a:chOff x="1782" y="145"/>
                <a:chExt cx="2674" cy="2270"/>
              </a:xfrm>
            </p:grpSpPr>
            <p:sp>
              <p:nvSpPr>
                <p:cNvPr id="108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807" y="145"/>
                  <a:ext cx="2649" cy="2270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rgbClr val="96969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+mj-lt"/>
                  </a:endParaRPr>
                </a:p>
              </p:txBody>
            </p:sp>
            <p:sp>
              <p:nvSpPr>
                <p:cNvPr id="109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799" y="145"/>
                  <a:ext cx="2657" cy="439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009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+mj-lt"/>
                  </a:endParaRPr>
                </a:p>
              </p:txBody>
            </p:sp>
            <p:sp>
              <p:nvSpPr>
                <p:cNvPr id="110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782" y="1469"/>
                  <a:ext cx="2655" cy="29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+mj-lt"/>
                  </a:endParaRPr>
                </a:p>
              </p:txBody>
            </p:sp>
          </p:grpSp>
          <p:cxnSp>
            <p:nvCxnSpPr>
              <p:cNvPr id="102" name="Rechte verbindingslijn 101"/>
              <p:cNvCxnSpPr/>
              <p:nvPr userDrawn="1"/>
            </p:nvCxnSpPr>
            <p:spPr>
              <a:xfrm flipH="1">
                <a:off x="6086136" y="96647"/>
                <a:ext cx="6024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Rechte verbindingslijn 102"/>
              <p:cNvCxnSpPr/>
              <p:nvPr userDrawn="1"/>
            </p:nvCxnSpPr>
            <p:spPr>
              <a:xfrm>
                <a:off x="7281567" y="96647"/>
                <a:ext cx="0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Rechte verbindingslijn 103"/>
              <p:cNvCxnSpPr/>
              <p:nvPr userDrawn="1"/>
            </p:nvCxnSpPr>
            <p:spPr>
              <a:xfrm>
                <a:off x="4905299" y="96186"/>
                <a:ext cx="0" cy="377505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Rechte verbindingslijn 104"/>
              <p:cNvCxnSpPr/>
              <p:nvPr userDrawn="1"/>
            </p:nvCxnSpPr>
            <p:spPr>
              <a:xfrm flipH="1">
                <a:off x="3836186" y="181242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Rechte verbindingslijn 105"/>
              <p:cNvCxnSpPr/>
              <p:nvPr userDrawn="1"/>
            </p:nvCxnSpPr>
            <p:spPr>
              <a:xfrm flipH="1">
                <a:off x="3836186" y="280466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Rechte verbindingslijn 106"/>
              <p:cNvCxnSpPr/>
              <p:nvPr userDrawn="1"/>
            </p:nvCxnSpPr>
            <p:spPr>
              <a:xfrm flipH="1">
                <a:off x="3836186" y="392407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8" name="Rechthoek 8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TABEL INVOEGEN</a:t>
              </a:r>
            </a:p>
          </p:txBody>
        </p:sp>
        <p:sp>
          <p:nvSpPr>
            <p:cNvPr id="89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Klik op het icoon om een tabel </a:t>
              </a:r>
              <a:b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in te voegen</a:t>
              </a:r>
            </a:p>
          </p:txBody>
        </p:sp>
        <p:sp>
          <p:nvSpPr>
            <p:cNvPr id="90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eer het aantal rijen en kolommen en klik op </a:t>
              </a:r>
              <a:r>
                <a:rPr lang="nl-NL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OK’</a:t>
              </a:r>
            </a:p>
          </p:txBody>
        </p:sp>
        <p:sp>
          <p:nvSpPr>
            <p:cNvPr id="91" name="Ovaal 90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92" name="Ovaal 91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93" name="Rechte verbindingslijn 92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4" name="Rechte verbindingslijn 93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5" name="Rechte verbindingslijn 94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6" name="Groep 95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97" name="Afgeronde rechthoek 96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98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/>
                  <a:t>OK</a:t>
                </a:r>
              </a:p>
            </p:txBody>
          </p:sp>
          <p:cxnSp>
            <p:nvCxnSpPr>
              <p:cNvPr id="99" name="Rechte verbindingslijn 98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0" name="Gelijkbenige driehoek 99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36679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Grafiek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/>
              <a:t>Tekst + Grafiek (50%/50%)</a:t>
            </a:r>
            <a:endParaRPr lang="nl-NL"/>
          </a:p>
        </p:txBody>
      </p:sp>
      <p:sp>
        <p:nvSpPr>
          <p:cNvPr id="85" name="Tijdelijke aanduiding voor grafiek 13"/>
          <p:cNvSpPr>
            <a:spLocks noGrp="1"/>
          </p:cNvSpPr>
          <p:nvPr>
            <p:ph type="chart" sz="quarter" idx="16"/>
          </p:nvPr>
        </p:nvSpPr>
        <p:spPr>
          <a:xfrm>
            <a:off x="6108700" y="1092201"/>
            <a:ext cx="5625426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US"/>
              <a:t>Click icon to add chart</a:t>
            </a:r>
            <a:endParaRPr lang="nl-NL"/>
          </a:p>
        </p:txBody>
      </p:sp>
      <p:sp>
        <p:nvSpPr>
          <p:cNvPr id="84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9" y="1092201"/>
            <a:ext cx="5265610" cy="4680000"/>
          </a:xfrm>
        </p:spPr>
        <p:txBody>
          <a:bodyPr vert="horz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86" name="Groep 85"/>
          <p:cNvGrpSpPr/>
          <p:nvPr userDrawn="1"/>
        </p:nvGrpSpPr>
        <p:grpSpPr>
          <a:xfrm>
            <a:off x="12764736" y="19956"/>
            <a:ext cx="2697278" cy="6868888"/>
            <a:chOff x="12382788" y="-5444"/>
            <a:chExt cx="2697278" cy="6868888"/>
          </a:xfrm>
        </p:grpSpPr>
        <p:grpSp>
          <p:nvGrpSpPr>
            <p:cNvPr id="87" name="Groep 86"/>
            <p:cNvGrpSpPr/>
            <p:nvPr/>
          </p:nvGrpSpPr>
          <p:grpSpPr>
            <a:xfrm>
              <a:off x="12382788" y="1480224"/>
              <a:ext cx="689983" cy="573048"/>
              <a:chOff x="15171969" y="1587338"/>
              <a:chExt cx="755407" cy="627385"/>
            </a:xfrm>
          </p:grpSpPr>
          <p:sp>
            <p:nvSpPr>
              <p:cNvPr id="141" name="Rechthoek 962"/>
              <p:cNvSpPr/>
              <p:nvPr userDrawn="1"/>
            </p:nvSpPr>
            <p:spPr>
              <a:xfrm>
                <a:off x="15171969" y="2008934"/>
                <a:ext cx="755407" cy="205789"/>
              </a:xfrm>
              <a:custGeom>
                <a:avLst/>
                <a:gdLst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664132 w 664132"/>
                  <a:gd name="connsiteY2" fmla="*/ 27778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664132"/>
                  <a:gd name="connsiteY0" fmla="*/ 0 h 290487"/>
                  <a:gd name="connsiteX1" fmla="*/ 664132 w 664132"/>
                  <a:gd name="connsiteY1" fmla="*/ 0 h 290487"/>
                  <a:gd name="connsiteX2" fmla="*/ 333932 w 664132"/>
                  <a:gd name="connsiteY2" fmla="*/ 290487 h 290487"/>
                  <a:gd name="connsiteX3" fmla="*/ 0 w 664132"/>
                  <a:gd name="connsiteY3" fmla="*/ 277787 h 290487"/>
                  <a:gd name="connsiteX4" fmla="*/ 0 w 664132"/>
                  <a:gd name="connsiteY4" fmla="*/ 0 h 290487"/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575232 w 664132"/>
                  <a:gd name="connsiteY2" fmla="*/ 27143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708582"/>
                  <a:gd name="connsiteY0" fmla="*/ 0 h 277787"/>
                  <a:gd name="connsiteX1" fmla="*/ 708582 w 708582"/>
                  <a:gd name="connsiteY1" fmla="*/ 31750 h 277787"/>
                  <a:gd name="connsiteX2" fmla="*/ 575232 w 708582"/>
                  <a:gd name="connsiteY2" fmla="*/ 271437 h 277787"/>
                  <a:gd name="connsiteX3" fmla="*/ 0 w 708582"/>
                  <a:gd name="connsiteY3" fmla="*/ 277787 h 277787"/>
                  <a:gd name="connsiteX4" fmla="*/ 0 w 708582"/>
                  <a:gd name="connsiteY4" fmla="*/ 0 h 277787"/>
                  <a:gd name="connsiteX0" fmla="*/ 228600 w 708582"/>
                  <a:gd name="connsiteY0" fmla="*/ 6350 h 246037"/>
                  <a:gd name="connsiteX1" fmla="*/ 708582 w 708582"/>
                  <a:gd name="connsiteY1" fmla="*/ 0 h 246037"/>
                  <a:gd name="connsiteX2" fmla="*/ 575232 w 708582"/>
                  <a:gd name="connsiteY2" fmla="*/ 239687 h 246037"/>
                  <a:gd name="connsiteX3" fmla="*/ 0 w 708582"/>
                  <a:gd name="connsiteY3" fmla="*/ 246037 h 246037"/>
                  <a:gd name="connsiteX4" fmla="*/ 228600 w 708582"/>
                  <a:gd name="connsiteY4" fmla="*/ 6350 h 246037"/>
                  <a:gd name="connsiteX0" fmla="*/ 228600 w 778432"/>
                  <a:gd name="connsiteY0" fmla="*/ 0 h 239687"/>
                  <a:gd name="connsiteX1" fmla="*/ 778432 w 778432"/>
                  <a:gd name="connsiteY1" fmla="*/ 25400 h 239687"/>
                  <a:gd name="connsiteX2" fmla="*/ 575232 w 778432"/>
                  <a:gd name="connsiteY2" fmla="*/ 233337 h 239687"/>
                  <a:gd name="connsiteX3" fmla="*/ 0 w 778432"/>
                  <a:gd name="connsiteY3" fmla="*/ 239687 h 239687"/>
                  <a:gd name="connsiteX4" fmla="*/ 228600 w 778432"/>
                  <a:gd name="connsiteY4" fmla="*/ 0 h 239687"/>
                  <a:gd name="connsiteX0" fmla="*/ 228600 w 778432"/>
                  <a:gd name="connsiteY0" fmla="*/ 0 h 214287"/>
                  <a:gd name="connsiteX1" fmla="*/ 778432 w 778432"/>
                  <a:gd name="connsiteY1" fmla="*/ 0 h 214287"/>
                  <a:gd name="connsiteX2" fmla="*/ 575232 w 778432"/>
                  <a:gd name="connsiteY2" fmla="*/ 207937 h 214287"/>
                  <a:gd name="connsiteX3" fmla="*/ 0 w 778432"/>
                  <a:gd name="connsiteY3" fmla="*/ 214287 h 214287"/>
                  <a:gd name="connsiteX4" fmla="*/ 228600 w 778432"/>
                  <a:gd name="connsiteY4" fmla="*/ 0 h 214287"/>
                  <a:gd name="connsiteX0" fmla="*/ 228600 w 730724"/>
                  <a:gd name="connsiteY0" fmla="*/ 3975 h 218262"/>
                  <a:gd name="connsiteX1" fmla="*/ 730724 w 730724"/>
                  <a:gd name="connsiteY1" fmla="*/ 0 h 218262"/>
                  <a:gd name="connsiteX2" fmla="*/ 575232 w 730724"/>
                  <a:gd name="connsiteY2" fmla="*/ 211912 h 218262"/>
                  <a:gd name="connsiteX3" fmla="*/ 0 w 730724"/>
                  <a:gd name="connsiteY3" fmla="*/ 218262 h 218262"/>
                  <a:gd name="connsiteX4" fmla="*/ 228600 w 730724"/>
                  <a:gd name="connsiteY4" fmla="*/ 3975 h 218262"/>
                  <a:gd name="connsiteX0" fmla="*/ 252454 w 754578"/>
                  <a:gd name="connsiteY0" fmla="*/ 3975 h 211912"/>
                  <a:gd name="connsiteX1" fmla="*/ 754578 w 754578"/>
                  <a:gd name="connsiteY1" fmla="*/ 0 h 211912"/>
                  <a:gd name="connsiteX2" fmla="*/ 599086 w 754578"/>
                  <a:gd name="connsiteY2" fmla="*/ 211912 h 211912"/>
                  <a:gd name="connsiteX3" fmla="*/ 0 w 754578"/>
                  <a:gd name="connsiteY3" fmla="*/ 210311 h 211912"/>
                  <a:gd name="connsiteX4" fmla="*/ 252454 w 754578"/>
                  <a:gd name="connsiteY4" fmla="*/ 3975 h 211912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599086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754578"/>
                  <a:gd name="connsiteY0" fmla="*/ 0 h 223840"/>
                  <a:gd name="connsiteX1" fmla="*/ 754578 w 754578"/>
                  <a:gd name="connsiteY1" fmla="*/ 7952 h 223840"/>
                  <a:gd name="connsiteX2" fmla="*/ 654745 w 754578"/>
                  <a:gd name="connsiteY2" fmla="*/ 223840 h 223840"/>
                  <a:gd name="connsiteX3" fmla="*/ 0 w 754578"/>
                  <a:gd name="connsiteY3" fmla="*/ 218263 h 223840"/>
                  <a:gd name="connsiteX4" fmla="*/ 172941 w 754578"/>
                  <a:gd name="connsiteY4" fmla="*/ 0 h 223840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646793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818189"/>
                  <a:gd name="connsiteY0" fmla="*/ 0 h 219864"/>
                  <a:gd name="connsiteX1" fmla="*/ 818189 w 818189"/>
                  <a:gd name="connsiteY1" fmla="*/ 31806 h 219864"/>
                  <a:gd name="connsiteX2" fmla="*/ 646793 w 818189"/>
                  <a:gd name="connsiteY2" fmla="*/ 219864 h 219864"/>
                  <a:gd name="connsiteX3" fmla="*/ 0 w 818189"/>
                  <a:gd name="connsiteY3" fmla="*/ 218263 h 219864"/>
                  <a:gd name="connsiteX4" fmla="*/ 172941 w 818189"/>
                  <a:gd name="connsiteY4" fmla="*/ 0 h 219864"/>
                  <a:gd name="connsiteX0" fmla="*/ 172941 w 806262"/>
                  <a:gd name="connsiteY0" fmla="*/ 0 h 219864"/>
                  <a:gd name="connsiteX1" fmla="*/ 806262 w 806262"/>
                  <a:gd name="connsiteY1" fmla="*/ 11928 h 219864"/>
                  <a:gd name="connsiteX2" fmla="*/ 646793 w 806262"/>
                  <a:gd name="connsiteY2" fmla="*/ 219864 h 219864"/>
                  <a:gd name="connsiteX3" fmla="*/ 0 w 806262"/>
                  <a:gd name="connsiteY3" fmla="*/ 218263 h 219864"/>
                  <a:gd name="connsiteX4" fmla="*/ 172941 w 806262"/>
                  <a:gd name="connsiteY4" fmla="*/ 0 h 219864"/>
                  <a:gd name="connsiteX0" fmla="*/ 172941 w 798310"/>
                  <a:gd name="connsiteY0" fmla="*/ 0 h 219864"/>
                  <a:gd name="connsiteX1" fmla="*/ 798310 w 798310"/>
                  <a:gd name="connsiteY1" fmla="*/ 15903 h 219864"/>
                  <a:gd name="connsiteX2" fmla="*/ 646793 w 798310"/>
                  <a:gd name="connsiteY2" fmla="*/ 219864 h 219864"/>
                  <a:gd name="connsiteX3" fmla="*/ 0 w 798310"/>
                  <a:gd name="connsiteY3" fmla="*/ 218263 h 219864"/>
                  <a:gd name="connsiteX4" fmla="*/ 172941 w 798310"/>
                  <a:gd name="connsiteY4" fmla="*/ 0 h 219864"/>
                  <a:gd name="connsiteX0" fmla="*/ 172941 w 798310"/>
                  <a:gd name="connsiteY0" fmla="*/ 0 h 259620"/>
                  <a:gd name="connsiteX1" fmla="*/ 798310 w 798310"/>
                  <a:gd name="connsiteY1" fmla="*/ 15903 h 259620"/>
                  <a:gd name="connsiteX2" fmla="*/ 614988 w 798310"/>
                  <a:gd name="connsiteY2" fmla="*/ 259620 h 259620"/>
                  <a:gd name="connsiteX3" fmla="*/ 0 w 798310"/>
                  <a:gd name="connsiteY3" fmla="*/ 218263 h 259620"/>
                  <a:gd name="connsiteX4" fmla="*/ 172941 w 798310"/>
                  <a:gd name="connsiteY4" fmla="*/ 0 h 259620"/>
                  <a:gd name="connsiteX0" fmla="*/ 188843 w 814212"/>
                  <a:gd name="connsiteY0" fmla="*/ 0 h 259620"/>
                  <a:gd name="connsiteX1" fmla="*/ 814212 w 814212"/>
                  <a:gd name="connsiteY1" fmla="*/ 15903 h 259620"/>
                  <a:gd name="connsiteX2" fmla="*/ 630890 w 814212"/>
                  <a:gd name="connsiteY2" fmla="*/ 259620 h 259620"/>
                  <a:gd name="connsiteX3" fmla="*/ 0 w 814212"/>
                  <a:gd name="connsiteY3" fmla="*/ 254043 h 259620"/>
                  <a:gd name="connsiteX4" fmla="*/ 188843 w 814212"/>
                  <a:gd name="connsiteY4" fmla="*/ 0 h 259620"/>
                  <a:gd name="connsiteX0" fmla="*/ 208721 w 834090"/>
                  <a:gd name="connsiteY0" fmla="*/ 0 h 259620"/>
                  <a:gd name="connsiteX1" fmla="*/ 834090 w 834090"/>
                  <a:gd name="connsiteY1" fmla="*/ 15903 h 259620"/>
                  <a:gd name="connsiteX2" fmla="*/ 650768 w 834090"/>
                  <a:gd name="connsiteY2" fmla="*/ 259620 h 259620"/>
                  <a:gd name="connsiteX3" fmla="*/ 0 w 834090"/>
                  <a:gd name="connsiteY3" fmla="*/ 254043 h 259620"/>
                  <a:gd name="connsiteX4" fmla="*/ 208721 w 834090"/>
                  <a:gd name="connsiteY4" fmla="*/ 0 h 259620"/>
                  <a:gd name="connsiteX0" fmla="*/ 268356 w 893725"/>
                  <a:gd name="connsiteY0" fmla="*/ 0 h 259620"/>
                  <a:gd name="connsiteX1" fmla="*/ 893725 w 893725"/>
                  <a:gd name="connsiteY1" fmla="*/ 15903 h 259620"/>
                  <a:gd name="connsiteX2" fmla="*/ 710403 w 893725"/>
                  <a:gd name="connsiteY2" fmla="*/ 259620 h 259620"/>
                  <a:gd name="connsiteX3" fmla="*/ 0 w 893725"/>
                  <a:gd name="connsiteY3" fmla="*/ 254043 h 259620"/>
                  <a:gd name="connsiteX4" fmla="*/ 268356 w 893725"/>
                  <a:gd name="connsiteY4" fmla="*/ 0 h 259620"/>
                  <a:gd name="connsiteX0" fmla="*/ 260405 w 885774"/>
                  <a:gd name="connsiteY0" fmla="*/ 0 h 259620"/>
                  <a:gd name="connsiteX1" fmla="*/ 885774 w 885774"/>
                  <a:gd name="connsiteY1" fmla="*/ 15903 h 259620"/>
                  <a:gd name="connsiteX2" fmla="*/ 702452 w 885774"/>
                  <a:gd name="connsiteY2" fmla="*/ 259620 h 259620"/>
                  <a:gd name="connsiteX3" fmla="*/ 0 w 885774"/>
                  <a:gd name="connsiteY3" fmla="*/ 254043 h 259620"/>
                  <a:gd name="connsiteX4" fmla="*/ 260405 w 885774"/>
                  <a:gd name="connsiteY4" fmla="*/ 0 h 259620"/>
                  <a:gd name="connsiteX0" fmla="*/ 220648 w 885774"/>
                  <a:gd name="connsiteY0" fmla="*/ 0 h 243717"/>
                  <a:gd name="connsiteX1" fmla="*/ 885774 w 885774"/>
                  <a:gd name="connsiteY1" fmla="*/ 0 h 243717"/>
                  <a:gd name="connsiteX2" fmla="*/ 702452 w 885774"/>
                  <a:gd name="connsiteY2" fmla="*/ 243717 h 243717"/>
                  <a:gd name="connsiteX3" fmla="*/ 0 w 885774"/>
                  <a:gd name="connsiteY3" fmla="*/ 238140 h 243717"/>
                  <a:gd name="connsiteX4" fmla="*/ 220648 w 885774"/>
                  <a:gd name="connsiteY4" fmla="*/ 0 h 243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5774" h="243717">
                    <a:moveTo>
                      <a:pt x="220648" y="0"/>
                    </a:moveTo>
                    <a:lnTo>
                      <a:pt x="885774" y="0"/>
                    </a:lnTo>
                    <a:lnTo>
                      <a:pt x="702452" y="243717"/>
                    </a:lnTo>
                    <a:lnTo>
                      <a:pt x="0" y="238140"/>
                    </a:lnTo>
                    <a:lnTo>
                      <a:pt x="220648" y="0"/>
                    </a:lnTo>
                    <a:close/>
                  </a:path>
                </a:pathLst>
              </a:custGeom>
              <a:solidFill>
                <a:srgbClr val="FFFFFF">
                  <a:lumMod val="50000"/>
                </a:srgbClr>
              </a:solidFill>
              <a:ln w="25400" cap="flat" cmpd="sng" algn="ctr">
                <a:noFill/>
                <a:prstDash val="solid"/>
              </a:ln>
              <a:effectLst>
                <a:softEdge rad="31750"/>
              </a:effectLst>
            </p:spPr>
            <p:txBody>
              <a:bodyPr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42" name="Groep 141"/>
              <p:cNvGrpSpPr/>
              <p:nvPr userDrawn="1"/>
            </p:nvGrpSpPr>
            <p:grpSpPr>
              <a:xfrm>
                <a:off x="15281106" y="1587338"/>
                <a:ext cx="511775" cy="560304"/>
                <a:chOff x="10604642" y="969717"/>
                <a:chExt cx="1290643" cy="1427163"/>
              </a:xfrm>
            </p:grpSpPr>
            <p:grpSp>
              <p:nvGrpSpPr>
                <p:cNvPr id="143" name="Group 879"/>
                <p:cNvGrpSpPr>
                  <a:grpSpLocks noChangeAspect="1"/>
                </p:cNvGrpSpPr>
                <p:nvPr userDrawn="1"/>
              </p:nvGrpSpPr>
              <p:grpSpPr bwMode="auto">
                <a:xfrm>
                  <a:off x="10604642" y="969717"/>
                  <a:ext cx="1290643" cy="1427163"/>
                  <a:chOff x="4798" y="1515"/>
                  <a:chExt cx="813" cy="899"/>
                </a:xfrm>
              </p:grpSpPr>
              <p:sp>
                <p:nvSpPr>
                  <p:cNvPr id="145" name="Freeform 886"/>
                  <p:cNvSpPr>
                    <a:spLocks/>
                  </p:cNvSpPr>
                  <p:nvPr userDrawn="1"/>
                </p:nvSpPr>
                <p:spPr bwMode="auto">
                  <a:xfrm>
                    <a:off x="5269" y="1515"/>
                    <a:ext cx="71" cy="898"/>
                  </a:xfrm>
                  <a:custGeom>
                    <a:avLst/>
                    <a:gdLst>
                      <a:gd name="T0" fmla="*/ 282 w 282"/>
                      <a:gd name="T1" fmla="*/ 0 h 3595"/>
                      <a:gd name="T2" fmla="*/ 282 w 282"/>
                      <a:gd name="T3" fmla="*/ 3138 h 3595"/>
                      <a:gd name="T4" fmla="*/ 0 w 282"/>
                      <a:gd name="T5" fmla="*/ 3595 h 3595"/>
                      <a:gd name="T6" fmla="*/ 0 w 282"/>
                      <a:gd name="T7" fmla="*/ 285 h 3595"/>
                      <a:gd name="T8" fmla="*/ 282 w 282"/>
                      <a:gd name="T9" fmla="*/ 0 h 35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82" h="3595">
                        <a:moveTo>
                          <a:pt x="282" y="0"/>
                        </a:moveTo>
                        <a:lnTo>
                          <a:pt x="282" y="3138"/>
                        </a:lnTo>
                        <a:lnTo>
                          <a:pt x="0" y="3595"/>
                        </a:lnTo>
                        <a:lnTo>
                          <a:pt x="0" y="285"/>
                        </a:lnTo>
                        <a:lnTo>
                          <a:pt x="282" y="0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6" name="Rectangle 880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515"/>
                    <a:ext cx="813" cy="899"/>
                  </a:xfrm>
                  <a:prstGeom prst="rect">
                    <a:avLst/>
                  </a:prstGeom>
                  <a:noFill/>
                  <a:ln w="0">
                    <a:noFill/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7" name="Rectangle 881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857"/>
                    <a:ext cx="228" cy="55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002060"/>
                      </a:gs>
                      <a:gs pos="100000">
                        <a:srgbClr val="1929FF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8" name="Freeform 882"/>
                  <p:cNvSpPr>
                    <a:spLocks/>
                  </p:cNvSpPr>
                  <p:nvPr userDrawn="1"/>
                </p:nvSpPr>
                <p:spPr bwMode="auto">
                  <a:xfrm>
                    <a:off x="4798" y="1771"/>
                    <a:ext cx="314" cy="86"/>
                  </a:xfrm>
                  <a:custGeom>
                    <a:avLst/>
                    <a:gdLst>
                      <a:gd name="T0" fmla="*/ 411 w 1255"/>
                      <a:gd name="T1" fmla="*/ 0 h 342"/>
                      <a:gd name="T2" fmla="*/ 1255 w 1255"/>
                      <a:gd name="T3" fmla="*/ 0 h 342"/>
                      <a:gd name="T4" fmla="*/ 913 w 1255"/>
                      <a:gd name="T5" fmla="*/ 342 h 342"/>
                      <a:gd name="T6" fmla="*/ 0 w 1255"/>
                      <a:gd name="T7" fmla="*/ 342 h 342"/>
                      <a:gd name="T8" fmla="*/ 411 w 1255"/>
                      <a:gd name="T9" fmla="*/ 0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255" h="342">
                        <a:moveTo>
                          <a:pt x="411" y="0"/>
                        </a:moveTo>
                        <a:lnTo>
                          <a:pt x="1255" y="0"/>
                        </a:lnTo>
                        <a:lnTo>
                          <a:pt x="913" y="342"/>
                        </a:lnTo>
                        <a:lnTo>
                          <a:pt x="0" y="342"/>
                        </a:lnTo>
                        <a:lnTo>
                          <a:pt x="411" y="0"/>
                        </a:lnTo>
                        <a:close/>
                      </a:path>
                    </a:pathLst>
                  </a:custGeom>
                  <a:solidFill>
                    <a:srgbClr val="0039AC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9" name="Freeform 883"/>
                  <p:cNvSpPr>
                    <a:spLocks/>
                  </p:cNvSpPr>
                  <p:nvPr userDrawn="1"/>
                </p:nvSpPr>
                <p:spPr bwMode="auto">
                  <a:xfrm>
                    <a:off x="5026" y="1771"/>
                    <a:ext cx="85" cy="642"/>
                  </a:xfrm>
                  <a:custGeom>
                    <a:avLst/>
                    <a:gdLst>
                      <a:gd name="T0" fmla="*/ 342 w 342"/>
                      <a:gd name="T1" fmla="*/ 0 h 2568"/>
                      <a:gd name="T2" fmla="*/ 342 w 342"/>
                      <a:gd name="T3" fmla="*/ 2111 h 2568"/>
                      <a:gd name="T4" fmla="*/ 0 w 342"/>
                      <a:gd name="T5" fmla="*/ 2568 h 2568"/>
                      <a:gd name="T6" fmla="*/ 0 w 342"/>
                      <a:gd name="T7" fmla="*/ 342 h 2568"/>
                      <a:gd name="T8" fmla="*/ 342 w 342"/>
                      <a:gd name="T9" fmla="*/ 0 h 25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568">
                        <a:moveTo>
                          <a:pt x="342" y="0"/>
                        </a:moveTo>
                        <a:lnTo>
                          <a:pt x="342" y="2111"/>
                        </a:lnTo>
                        <a:lnTo>
                          <a:pt x="0" y="2568"/>
                        </a:lnTo>
                        <a:lnTo>
                          <a:pt x="0" y="342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000075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0" name="Freeform 884"/>
                  <p:cNvSpPr>
                    <a:spLocks/>
                  </p:cNvSpPr>
                  <p:nvPr userDrawn="1"/>
                </p:nvSpPr>
                <p:spPr bwMode="auto">
                  <a:xfrm>
                    <a:off x="5054" y="1515"/>
                    <a:ext cx="286" cy="72"/>
                  </a:xfrm>
                  <a:custGeom>
                    <a:avLst/>
                    <a:gdLst>
                      <a:gd name="T0" fmla="*/ 318 w 1140"/>
                      <a:gd name="T1" fmla="*/ 0 h 289"/>
                      <a:gd name="T2" fmla="*/ 1140 w 1140"/>
                      <a:gd name="T3" fmla="*/ 0 h 289"/>
                      <a:gd name="T4" fmla="*/ 855 w 1140"/>
                      <a:gd name="T5" fmla="*/ 289 h 289"/>
                      <a:gd name="T6" fmla="*/ 0 w 1140"/>
                      <a:gd name="T7" fmla="*/ 289 h 289"/>
                      <a:gd name="T8" fmla="*/ 318 w 1140"/>
                      <a:gd name="T9" fmla="*/ 0 h 2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0" h="289">
                        <a:moveTo>
                          <a:pt x="318" y="0"/>
                        </a:moveTo>
                        <a:lnTo>
                          <a:pt x="1140" y="0"/>
                        </a:lnTo>
                        <a:lnTo>
                          <a:pt x="855" y="289"/>
                        </a:lnTo>
                        <a:lnTo>
                          <a:pt x="0" y="289"/>
                        </a:lnTo>
                        <a:lnTo>
                          <a:pt x="318" y="0"/>
                        </a:lnTo>
                        <a:close/>
                      </a:path>
                    </a:pathLst>
                  </a:custGeom>
                  <a:solidFill>
                    <a:srgbClr val="EEFF26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1" name="Rectangle 885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054" y="1587"/>
                    <a:ext cx="215" cy="82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FFC000"/>
                      </a:gs>
                      <a:gs pos="100000">
                        <a:srgbClr val="FFFF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2" name="Rectangle 887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298" y="1771"/>
                    <a:ext cx="228" cy="643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B80004"/>
                      </a:gs>
                      <a:gs pos="100000">
                        <a:srgbClr val="FF00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3" name="Freeform 888"/>
                  <p:cNvSpPr>
                    <a:spLocks/>
                  </p:cNvSpPr>
                  <p:nvPr userDrawn="1"/>
                </p:nvSpPr>
                <p:spPr bwMode="auto">
                  <a:xfrm>
                    <a:off x="5526" y="1686"/>
                    <a:ext cx="85" cy="727"/>
                  </a:xfrm>
                  <a:custGeom>
                    <a:avLst/>
                    <a:gdLst>
                      <a:gd name="T0" fmla="*/ 342 w 342"/>
                      <a:gd name="T1" fmla="*/ 0 h 2911"/>
                      <a:gd name="T2" fmla="*/ 342 w 342"/>
                      <a:gd name="T3" fmla="*/ 2477 h 2911"/>
                      <a:gd name="T4" fmla="*/ 0 w 342"/>
                      <a:gd name="T5" fmla="*/ 2911 h 2911"/>
                      <a:gd name="T6" fmla="*/ 0 w 342"/>
                      <a:gd name="T7" fmla="*/ 334 h 2911"/>
                      <a:gd name="T8" fmla="*/ 342 w 342"/>
                      <a:gd name="T9" fmla="*/ 0 h 29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911">
                        <a:moveTo>
                          <a:pt x="342" y="0"/>
                        </a:moveTo>
                        <a:lnTo>
                          <a:pt x="342" y="2477"/>
                        </a:lnTo>
                        <a:lnTo>
                          <a:pt x="0" y="2911"/>
                        </a:lnTo>
                        <a:lnTo>
                          <a:pt x="0" y="334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C2001B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  <p:sp>
              <p:nvSpPr>
                <p:cNvPr id="144" name="Vrije vorm 143"/>
                <p:cNvSpPr/>
                <p:nvPr userDrawn="1"/>
              </p:nvSpPr>
              <p:spPr>
                <a:xfrm>
                  <a:off x="11389225" y="1241176"/>
                  <a:ext cx="506025" cy="137883"/>
                </a:xfrm>
                <a:custGeom>
                  <a:avLst/>
                  <a:gdLst>
                    <a:gd name="connsiteX0" fmla="*/ 0 w 508407"/>
                    <a:gd name="connsiteY0" fmla="*/ 142646 h 146304"/>
                    <a:gd name="connsiteX1" fmla="*/ 369418 w 508407"/>
                    <a:gd name="connsiteY1" fmla="*/ 146304 h 146304"/>
                    <a:gd name="connsiteX2" fmla="*/ 508407 w 508407"/>
                    <a:gd name="connsiteY2" fmla="*/ 0 h 146304"/>
                    <a:gd name="connsiteX3" fmla="*/ 168250 w 508407"/>
                    <a:gd name="connsiteY3" fmla="*/ 0 h 146304"/>
                    <a:gd name="connsiteX4" fmla="*/ 0 w 508407"/>
                    <a:gd name="connsiteY4" fmla="*/ 142646 h 146304"/>
                    <a:gd name="connsiteX0" fmla="*/ 0 w 508407"/>
                    <a:gd name="connsiteY0" fmla="*/ 142646 h 142646"/>
                    <a:gd name="connsiteX1" fmla="*/ 376562 w 508407"/>
                    <a:gd name="connsiteY1" fmla="*/ 136779 h 142646"/>
                    <a:gd name="connsiteX2" fmla="*/ 508407 w 508407"/>
                    <a:gd name="connsiteY2" fmla="*/ 0 h 142646"/>
                    <a:gd name="connsiteX3" fmla="*/ 168250 w 508407"/>
                    <a:gd name="connsiteY3" fmla="*/ 0 h 142646"/>
                    <a:gd name="connsiteX4" fmla="*/ 0 w 508407"/>
                    <a:gd name="connsiteY4" fmla="*/ 142646 h 142646"/>
                    <a:gd name="connsiteX0" fmla="*/ 0 w 506025"/>
                    <a:gd name="connsiteY0" fmla="*/ 137883 h 137883"/>
                    <a:gd name="connsiteX1" fmla="*/ 374180 w 506025"/>
                    <a:gd name="connsiteY1" fmla="*/ 136779 h 137883"/>
                    <a:gd name="connsiteX2" fmla="*/ 506025 w 506025"/>
                    <a:gd name="connsiteY2" fmla="*/ 0 h 137883"/>
                    <a:gd name="connsiteX3" fmla="*/ 165868 w 506025"/>
                    <a:gd name="connsiteY3" fmla="*/ 0 h 137883"/>
                    <a:gd name="connsiteX4" fmla="*/ 0 w 506025"/>
                    <a:gd name="connsiteY4" fmla="*/ 137883 h 137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6025" h="137883">
                      <a:moveTo>
                        <a:pt x="0" y="137883"/>
                      </a:moveTo>
                      <a:lnTo>
                        <a:pt x="374180" y="136779"/>
                      </a:lnTo>
                      <a:lnTo>
                        <a:pt x="506025" y="0"/>
                      </a:lnTo>
                      <a:lnTo>
                        <a:pt x="165868" y="0"/>
                      </a:lnTo>
                      <a:lnTo>
                        <a:pt x="0" y="137883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88" name="Groep 87"/>
            <p:cNvGrpSpPr/>
            <p:nvPr/>
          </p:nvGrpSpPr>
          <p:grpSpPr>
            <a:xfrm>
              <a:off x="12487778" y="6003628"/>
              <a:ext cx="1980859" cy="542924"/>
              <a:chOff x="12390702" y="6054428"/>
              <a:chExt cx="1980859" cy="542924"/>
            </a:xfrm>
          </p:grpSpPr>
          <p:sp>
            <p:nvSpPr>
              <p:cNvPr id="107" name="Rechthoek 106"/>
              <p:cNvSpPr/>
              <p:nvPr/>
            </p:nvSpPr>
            <p:spPr>
              <a:xfrm>
                <a:off x="12402284" y="6054428"/>
                <a:ext cx="1969277" cy="54292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08" name="Rechthoek 107"/>
              <p:cNvSpPr/>
              <p:nvPr/>
            </p:nvSpPr>
            <p:spPr>
              <a:xfrm>
                <a:off x="12662053" y="6062530"/>
                <a:ext cx="132760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nl-NL" sz="110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Ander grafiektype…</a:t>
                </a:r>
              </a:p>
            </p:txBody>
          </p:sp>
          <p:sp>
            <p:nvSpPr>
              <p:cNvPr id="109" name="Gelijkbenige driehoek 108"/>
              <p:cNvSpPr/>
              <p:nvPr/>
            </p:nvSpPr>
            <p:spPr>
              <a:xfrm rot="5400000">
                <a:off x="14210471" y="6150144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10" name="Afgeronde rechthoek 109"/>
              <p:cNvSpPr/>
              <p:nvPr/>
            </p:nvSpPr>
            <p:spPr>
              <a:xfrm>
                <a:off x="12390702" y="6322741"/>
                <a:ext cx="1973675" cy="268314"/>
              </a:xfrm>
              <a:prstGeom prst="roundRect">
                <a:avLst/>
              </a:prstGeom>
              <a:gradFill>
                <a:gsLst>
                  <a:gs pos="0">
                    <a:srgbClr val="FFF2BD"/>
                  </a:gs>
                  <a:gs pos="34000">
                    <a:srgbClr val="FFE98B"/>
                  </a:gs>
                  <a:gs pos="78000">
                    <a:srgbClr val="FFF5C9"/>
                  </a:gs>
                  <a:gs pos="59000">
                    <a:srgbClr val="FFE98B"/>
                  </a:gs>
                </a:gsLst>
                <a:lin ang="5400000" scaled="0"/>
              </a:gradFill>
              <a:ln w="635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tlCol="0" anchor="ctr"/>
              <a:lstStyle/>
              <a:p>
                <a:r>
                  <a:rPr lang="nl-NL" sz="1200">
                    <a:solidFill>
                      <a:schemeClr val="tx1"/>
                    </a:solidFill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Gegevens bewerken…</a:t>
                </a:r>
              </a:p>
            </p:txBody>
          </p:sp>
          <p:grpSp>
            <p:nvGrpSpPr>
              <p:cNvPr id="111" name="Groep 110"/>
              <p:cNvGrpSpPr/>
              <p:nvPr/>
            </p:nvGrpSpPr>
            <p:grpSpPr>
              <a:xfrm>
                <a:off x="12461788" y="6100223"/>
                <a:ext cx="204691" cy="170000"/>
                <a:chOff x="15171969" y="1587338"/>
                <a:chExt cx="755407" cy="627385"/>
              </a:xfrm>
            </p:grpSpPr>
            <p:sp>
              <p:nvSpPr>
                <p:cNvPr id="128" name="Rechthoek 962"/>
                <p:cNvSpPr/>
                <p:nvPr userDrawn="1"/>
              </p:nvSpPr>
              <p:spPr>
                <a:xfrm>
                  <a:off x="15171969" y="2008934"/>
                  <a:ext cx="755407" cy="205789"/>
                </a:xfrm>
                <a:custGeom>
                  <a:avLst/>
                  <a:gdLst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664132 w 664132"/>
                    <a:gd name="connsiteY2" fmla="*/ 27778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664132"/>
                    <a:gd name="connsiteY0" fmla="*/ 0 h 290487"/>
                    <a:gd name="connsiteX1" fmla="*/ 664132 w 664132"/>
                    <a:gd name="connsiteY1" fmla="*/ 0 h 290487"/>
                    <a:gd name="connsiteX2" fmla="*/ 333932 w 664132"/>
                    <a:gd name="connsiteY2" fmla="*/ 290487 h 290487"/>
                    <a:gd name="connsiteX3" fmla="*/ 0 w 664132"/>
                    <a:gd name="connsiteY3" fmla="*/ 277787 h 290487"/>
                    <a:gd name="connsiteX4" fmla="*/ 0 w 664132"/>
                    <a:gd name="connsiteY4" fmla="*/ 0 h 290487"/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575232 w 664132"/>
                    <a:gd name="connsiteY2" fmla="*/ 27143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708582"/>
                    <a:gd name="connsiteY0" fmla="*/ 0 h 277787"/>
                    <a:gd name="connsiteX1" fmla="*/ 708582 w 708582"/>
                    <a:gd name="connsiteY1" fmla="*/ 31750 h 277787"/>
                    <a:gd name="connsiteX2" fmla="*/ 575232 w 708582"/>
                    <a:gd name="connsiteY2" fmla="*/ 271437 h 277787"/>
                    <a:gd name="connsiteX3" fmla="*/ 0 w 708582"/>
                    <a:gd name="connsiteY3" fmla="*/ 277787 h 277787"/>
                    <a:gd name="connsiteX4" fmla="*/ 0 w 708582"/>
                    <a:gd name="connsiteY4" fmla="*/ 0 h 277787"/>
                    <a:gd name="connsiteX0" fmla="*/ 228600 w 708582"/>
                    <a:gd name="connsiteY0" fmla="*/ 6350 h 246037"/>
                    <a:gd name="connsiteX1" fmla="*/ 708582 w 708582"/>
                    <a:gd name="connsiteY1" fmla="*/ 0 h 246037"/>
                    <a:gd name="connsiteX2" fmla="*/ 575232 w 708582"/>
                    <a:gd name="connsiteY2" fmla="*/ 239687 h 246037"/>
                    <a:gd name="connsiteX3" fmla="*/ 0 w 708582"/>
                    <a:gd name="connsiteY3" fmla="*/ 246037 h 246037"/>
                    <a:gd name="connsiteX4" fmla="*/ 228600 w 708582"/>
                    <a:gd name="connsiteY4" fmla="*/ 6350 h 246037"/>
                    <a:gd name="connsiteX0" fmla="*/ 228600 w 778432"/>
                    <a:gd name="connsiteY0" fmla="*/ 0 h 239687"/>
                    <a:gd name="connsiteX1" fmla="*/ 778432 w 778432"/>
                    <a:gd name="connsiteY1" fmla="*/ 25400 h 239687"/>
                    <a:gd name="connsiteX2" fmla="*/ 575232 w 778432"/>
                    <a:gd name="connsiteY2" fmla="*/ 233337 h 239687"/>
                    <a:gd name="connsiteX3" fmla="*/ 0 w 778432"/>
                    <a:gd name="connsiteY3" fmla="*/ 239687 h 239687"/>
                    <a:gd name="connsiteX4" fmla="*/ 228600 w 778432"/>
                    <a:gd name="connsiteY4" fmla="*/ 0 h 239687"/>
                    <a:gd name="connsiteX0" fmla="*/ 228600 w 778432"/>
                    <a:gd name="connsiteY0" fmla="*/ 0 h 214287"/>
                    <a:gd name="connsiteX1" fmla="*/ 778432 w 778432"/>
                    <a:gd name="connsiteY1" fmla="*/ 0 h 214287"/>
                    <a:gd name="connsiteX2" fmla="*/ 575232 w 778432"/>
                    <a:gd name="connsiteY2" fmla="*/ 207937 h 214287"/>
                    <a:gd name="connsiteX3" fmla="*/ 0 w 778432"/>
                    <a:gd name="connsiteY3" fmla="*/ 214287 h 214287"/>
                    <a:gd name="connsiteX4" fmla="*/ 228600 w 778432"/>
                    <a:gd name="connsiteY4" fmla="*/ 0 h 214287"/>
                    <a:gd name="connsiteX0" fmla="*/ 228600 w 730724"/>
                    <a:gd name="connsiteY0" fmla="*/ 3975 h 218262"/>
                    <a:gd name="connsiteX1" fmla="*/ 730724 w 730724"/>
                    <a:gd name="connsiteY1" fmla="*/ 0 h 218262"/>
                    <a:gd name="connsiteX2" fmla="*/ 575232 w 730724"/>
                    <a:gd name="connsiteY2" fmla="*/ 211912 h 218262"/>
                    <a:gd name="connsiteX3" fmla="*/ 0 w 730724"/>
                    <a:gd name="connsiteY3" fmla="*/ 218262 h 218262"/>
                    <a:gd name="connsiteX4" fmla="*/ 228600 w 730724"/>
                    <a:gd name="connsiteY4" fmla="*/ 3975 h 218262"/>
                    <a:gd name="connsiteX0" fmla="*/ 252454 w 754578"/>
                    <a:gd name="connsiteY0" fmla="*/ 3975 h 211912"/>
                    <a:gd name="connsiteX1" fmla="*/ 754578 w 754578"/>
                    <a:gd name="connsiteY1" fmla="*/ 0 h 211912"/>
                    <a:gd name="connsiteX2" fmla="*/ 599086 w 754578"/>
                    <a:gd name="connsiteY2" fmla="*/ 211912 h 211912"/>
                    <a:gd name="connsiteX3" fmla="*/ 0 w 754578"/>
                    <a:gd name="connsiteY3" fmla="*/ 210311 h 211912"/>
                    <a:gd name="connsiteX4" fmla="*/ 252454 w 754578"/>
                    <a:gd name="connsiteY4" fmla="*/ 3975 h 211912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599086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754578"/>
                    <a:gd name="connsiteY0" fmla="*/ 0 h 223840"/>
                    <a:gd name="connsiteX1" fmla="*/ 754578 w 754578"/>
                    <a:gd name="connsiteY1" fmla="*/ 7952 h 223840"/>
                    <a:gd name="connsiteX2" fmla="*/ 654745 w 754578"/>
                    <a:gd name="connsiteY2" fmla="*/ 223840 h 223840"/>
                    <a:gd name="connsiteX3" fmla="*/ 0 w 754578"/>
                    <a:gd name="connsiteY3" fmla="*/ 218263 h 223840"/>
                    <a:gd name="connsiteX4" fmla="*/ 172941 w 754578"/>
                    <a:gd name="connsiteY4" fmla="*/ 0 h 223840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646793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818189"/>
                    <a:gd name="connsiteY0" fmla="*/ 0 h 219864"/>
                    <a:gd name="connsiteX1" fmla="*/ 818189 w 818189"/>
                    <a:gd name="connsiteY1" fmla="*/ 31806 h 219864"/>
                    <a:gd name="connsiteX2" fmla="*/ 646793 w 818189"/>
                    <a:gd name="connsiteY2" fmla="*/ 219864 h 219864"/>
                    <a:gd name="connsiteX3" fmla="*/ 0 w 818189"/>
                    <a:gd name="connsiteY3" fmla="*/ 218263 h 219864"/>
                    <a:gd name="connsiteX4" fmla="*/ 172941 w 818189"/>
                    <a:gd name="connsiteY4" fmla="*/ 0 h 219864"/>
                    <a:gd name="connsiteX0" fmla="*/ 172941 w 806262"/>
                    <a:gd name="connsiteY0" fmla="*/ 0 h 219864"/>
                    <a:gd name="connsiteX1" fmla="*/ 806262 w 806262"/>
                    <a:gd name="connsiteY1" fmla="*/ 11928 h 219864"/>
                    <a:gd name="connsiteX2" fmla="*/ 646793 w 806262"/>
                    <a:gd name="connsiteY2" fmla="*/ 219864 h 219864"/>
                    <a:gd name="connsiteX3" fmla="*/ 0 w 806262"/>
                    <a:gd name="connsiteY3" fmla="*/ 218263 h 219864"/>
                    <a:gd name="connsiteX4" fmla="*/ 172941 w 806262"/>
                    <a:gd name="connsiteY4" fmla="*/ 0 h 219864"/>
                    <a:gd name="connsiteX0" fmla="*/ 172941 w 798310"/>
                    <a:gd name="connsiteY0" fmla="*/ 0 h 219864"/>
                    <a:gd name="connsiteX1" fmla="*/ 798310 w 798310"/>
                    <a:gd name="connsiteY1" fmla="*/ 15903 h 219864"/>
                    <a:gd name="connsiteX2" fmla="*/ 646793 w 798310"/>
                    <a:gd name="connsiteY2" fmla="*/ 219864 h 219864"/>
                    <a:gd name="connsiteX3" fmla="*/ 0 w 798310"/>
                    <a:gd name="connsiteY3" fmla="*/ 218263 h 219864"/>
                    <a:gd name="connsiteX4" fmla="*/ 172941 w 798310"/>
                    <a:gd name="connsiteY4" fmla="*/ 0 h 219864"/>
                    <a:gd name="connsiteX0" fmla="*/ 172941 w 798310"/>
                    <a:gd name="connsiteY0" fmla="*/ 0 h 259620"/>
                    <a:gd name="connsiteX1" fmla="*/ 798310 w 798310"/>
                    <a:gd name="connsiteY1" fmla="*/ 15903 h 259620"/>
                    <a:gd name="connsiteX2" fmla="*/ 614988 w 798310"/>
                    <a:gd name="connsiteY2" fmla="*/ 259620 h 259620"/>
                    <a:gd name="connsiteX3" fmla="*/ 0 w 798310"/>
                    <a:gd name="connsiteY3" fmla="*/ 218263 h 259620"/>
                    <a:gd name="connsiteX4" fmla="*/ 172941 w 798310"/>
                    <a:gd name="connsiteY4" fmla="*/ 0 h 259620"/>
                    <a:gd name="connsiteX0" fmla="*/ 188843 w 814212"/>
                    <a:gd name="connsiteY0" fmla="*/ 0 h 259620"/>
                    <a:gd name="connsiteX1" fmla="*/ 814212 w 814212"/>
                    <a:gd name="connsiteY1" fmla="*/ 15903 h 259620"/>
                    <a:gd name="connsiteX2" fmla="*/ 630890 w 814212"/>
                    <a:gd name="connsiteY2" fmla="*/ 259620 h 259620"/>
                    <a:gd name="connsiteX3" fmla="*/ 0 w 814212"/>
                    <a:gd name="connsiteY3" fmla="*/ 254043 h 259620"/>
                    <a:gd name="connsiteX4" fmla="*/ 188843 w 814212"/>
                    <a:gd name="connsiteY4" fmla="*/ 0 h 259620"/>
                    <a:gd name="connsiteX0" fmla="*/ 208721 w 834090"/>
                    <a:gd name="connsiteY0" fmla="*/ 0 h 259620"/>
                    <a:gd name="connsiteX1" fmla="*/ 834090 w 834090"/>
                    <a:gd name="connsiteY1" fmla="*/ 15903 h 259620"/>
                    <a:gd name="connsiteX2" fmla="*/ 650768 w 834090"/>
                    <a:gd name="connsiteY2" fmla="*/ 259620 h 259620"/>
                    <a:gd name="connsiteX3" fmla="*/ 0 w 834090"/>
                    <a:gd name="connsiteY3" fmla="*/ 254043 h 259620"/>
                    <a:gd name="connsiteX4" fmla="*/ 208721 w 834090"/>
                    <a:gd name="connsiteY4" fmla="*/ 0 h 259620"/>
                    <a:gd name="connsiteX0" fmla="*/ 268356 w 893725"/>
                    <a:gd name="connsiteY0" fmla="*/ 0 h 259620"/>
                    <a:gd name="connsiteX1" fmla="*/ 893725 w 893725"/>
                    <a:gd name="connsiteY1" fmla="*/ 15903 h 259620"/>
                    <a:gd name="connsiteX2" fmla="*/ 710403 w 893725"/>
                    <a:gd name="connsiteY2" fmla="*/ 259620 h 259620"/>
                    <a:gd name="connsiteX3" fmla="*/ 0 w 893725"/>
                    <a:gd name="connsiteY3" fmla="*/ 254043 h 259620"/>
                    <a:gd name="connsiteX4" fmla="*/ 268356 w 893725"/>
                    <a:gd name="connsiteY4" fmla="*/ 0 h 259620"/>
                    <a:gd name="connsiteX0" fmla="*/ 260405 w 885774"/>
                    <a:gd name="connsiteY0" fmla="*/ 0 h 259620"/>
                    <a:gd name="connsiteX1" fmla="*/ 885774 w 885774"/>
                    <a:gd name="connsiteY1" fmla="*/ 15903 h 259620"/>
                    <a:gd name="connsiteX2" fmla="*/ 702452 w 885774"/>
                    <a:gd name="connsiteY2" fmla="*/ 259620 h 259620"/>
                    <a:gd name="connsiteX3" fmla="*/ 0 w 885774"/>
                    <a:gd name="connsiteY3" fmla="*/ 254043 h 259620"/>
                    <a:gd name="connsiteX4" fmla="*/ 260405 w 885774"/>
                    <a:gd name="connsiteY4" fmla="*/ 0 h 259620"/>
                    <a:gd name="connsiteX0" fmla="*/ 220648 w 885774"/>
                    <a:gd name="connsiteY0" fmla="*/ 0 h 243717"/>
                    <a:gd name="connsiteX1" fmla="*/ 885774 w 885774"/>
                    <a:gd name="connsiteY1" fmla="*/ 0 h 243717"/>
                    <a:gd name="connsiteX2" fmla="*/ 702452 w 885774"/>
                    <a:gd name="connsiteY2" fmla="*/ 243717 h 243717"/>
                    <a:gd name="connsiteX3" fmla="*/ 0 w 885774"/>
                    <a:gd name="connsiteY3" fmla="*/ 238140 h 243717"/>
                    <a:gd name="connsiteX4" fmla="*/ 220648 w 885774"/>
                    <a:gd name="connsiteY4" fmla="*/ 0 h 243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5774" h="243717">
                      <a:moveTo>
                        <a:pt x="220648" y="0"/>
                      </a:moveTo>
                      <a:lnTo>
                        <a:pt x="885774" y="0"/>
                      </a:lnTo>
                      <a:lnTo>
                        <a:pt x="702452" y="243717"/>
                      </a:lnTo>
                      <a:lnTo>
                        <a:pt x="0" y="238140"/>
                      </a:lnTo>
                      <a:lnTo>
                        <a:pt x="220648" y="0"/>
                      </a:lnTo>
                      <a:close/>
                    </a:path>
                  </a:pathLst>
                </a:cu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>
                  <a:softEdge rad="31750"/>
                </a:effectLst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29" name="Groep 128"/>
                <p:cNvGrpSpPr/>
                <p:nvPr userDrawn="1"/>
              </p:nvGrpSpPr>
              <p:grpSpPr>
                <a:xfrm>
                  <a:off x="15281106" y="1587338"/>
                  <a:ext cx="511775" cy="560304"/>
                  <a:chOff x="10604642" y="969717"/>
                  <a:chExt cx="1290643" cy="1427163"/>
                </a:xfrm>
              </p:grpSpPr>
              <p:grpSp>
                <p:nvGrpSpPr>
                  <p:cNvPr id="130" name="Group 879"/>
                  <p:cNvGrpSpPr>
                    <a:grpSpLocks noChangeAspect="1"/>
                  </p:cNvGrpSpPr>
                  <p:nvPr userDrawn="1"/>
                </p:nvGrpSpPr>
                <p:grpSpPr bwMode="auto">
                  <a:xfrm>
                    <a:off x="10604642" y="969717"/>
                    <a:ext cx="1290643" cy="1427163"/>
                    <a:chOff x="4798" y="1515"/>
                    <a:chExt cx="813" cy="899"/>
                  </a:xfrm>
                </p:grpSpPr>
                <p:sp>
                  <p:nvSpPr>
                    <p:cNvPr id="132" name="Freeform 886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269" y="1515"/>
                      <a:ext cx="71" cy="898"/>
                    </a:xfrm>
                    <a:custGeom>
                      <a:avLst/>
                      <a:gdLst>
                        <a:gd name="T0" fmla="*/ 282 w 282"/>
                        <a:gd name="T1" fmla="*/ 0 h 3595"/>
                        <a:gd name="T2" fmla="*/ 282 w 282"/>
                        <a:gd name="T3" fmla="*/ 3138 h 3595"/>
                        <a:gd name="T4" fmla="*/ 0 w 282"/>
                        <a:gd name="T5" fmla="*/ 3595 h 3595"/>
                        <a:gd name="T6" fmla="*/ 0 w 282"/>
                        <a:gd name="T7" fmla="*/ 285 h 3595"/>
                        <a:gd name="T8" fmla="*/ 282 w 282"/>
                        <a:gd name="T9" fmla="*/ 0 h 35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2" h="3595">
                          <a:moveTo>
                            <a:pt x="282" y="0"/>
                          </a:moveTo>
                          <a:lnTo>
                            <a:pt x="282" y="3138"/>
                          </a:lnTo>
                          <a:lnTo>
                            <a:pt x="0" y="3595"/>
                          </a:lnTo>
                          <a:lnTo>
                            <a:pt x="0" y="285"/>
                          </a:lnTo>
                          <a:lnTo>
                            <a:pt x="282" y="0"/>
                          </a:lnTo>
                          <a:close/>
                        </a:path>
                      </a:pathLst>
                    </a:custGeom>
                    <a:solidFill>
                      <a:srgbClr val="FFC000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3" name="Rectangle 880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515"/>
                      <a:ext cx="813" cy="899"/>
                    </a:xfrm>
                    <a:prstGeom prst="rect">
                      <a:avLst/>
                    </a:prstGeom>
                    <a:no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4" name="Rectangle 881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857"/>
                      <a:ext cx="228" cy="55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002060"/>
                        </a:gs>
                        <a:gs pos="100000">
                          <a:srgbClr val="1929FF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5" name="Freeform 882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4798" y="1771"/>
                      <a:ext cx="314" cy="86"/>
                    </a:xfrm>
                    <a:custGeom>
                      <a:avLst/>
                      <a:gdLst>
                        <a:gd name="T0" fmla="*/ 411 w 1255"/>
                        <a:gd name="T1" fmla="*/ 0 h 342"/>
                        <a:gd name="T2" fmla="*/ 1255 w 1255"/>
                        <a:gd name="T3" fmla="*/ 0 h 342"/>
                        <a:gd name="T4" fmla="*/ 913 w 1255"/>
                        <a:gd name="T5" fmla="*/ 342 h 342"/>
                        <a:gd name="T6" fmla="*/ 0 w 1255"/>
                        <a:gd name="T7" fmla="*/ 342 h 342"/>
                        <a:gd name="T8" fmla="*/ 411 w 1255"/>
                        <a:gd name="T9" fmla="*/ 0 h 3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55" h="342">
                          <a:moveTo>
                            <a:pt x="411" y="0"/>
                          </a:moveTo>
                          <a:lnTo>
                            <a:pt x="1255" y="0"/>
                          </a:lnTo>
                          <a:lnTo>
                            <a:pt x="913" y="342"/>
                          </a:lnTo>
                          <a:lnTo>
                            <a:pt x="0" y="342"/>
                          </a:lnTo>
                          <a:lnTo>
                            <a:pt x="411" y="0"/>
                          </a:lnTo>
                          <a:close/>
                        </a:path>
                      </a:pathLst>
                    </a:custGeom>
                    <a:solidFill>
                      <a:srgbClr val="0039AC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6" name="Freeform 883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26" y="1771"/>
                      <a:ext cx="85" cy="642"/>
                    </a:xfrm>
                    <a:custGeom>
                      <a:avLst/>
                      <a:gdLst>
                        <a:gd name="T0" fmla="*/ 342 w 342"/>
                        <a:gd name="T1" fmla="*/ 0 h 2568"/>
                        <a:gd name="T2" fmla="*/ 342 w 342"/>
                        <a:gd name="T3" fmla="*/ 2111 h 2568"/>
                        <a:gd name="T4" fmla="*/ 0 w 342"/>
                        <a:gd name="T5" fmla="*/ 2568 h 2568"/>
                        <a:gd name="T6" fmla="*/ 0 w 342"/>
                        <a:gd name="T7" fmla="*/ 342 h 2568"/>
                        <a:gd name="T8" fmla="*/ 342 w 342"/>
                        <a:gd name="T9" fmla="*/ 0 h 25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568">
                          <a:moveTo>
                            <a:pt x="342" y="0"/>
                          </a:moveTo>
                          <a:lnTo>
                            <a:pt x="342" y="2111"/>
                          </a:lnTo>
                          <a:lnTo>
                            <a:pt x="0" y="2568"/>
                          </a:lnTo>
                          <a:lnTo>
                            <a:pt x="0" y="342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000075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7" name="Freeform 884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54" y="1515"/>
                      <a:ext cx="286" cy="72"/>
                    </a:xfrm>
                    <a:custGeom>
                      <a:avLst/>
                      <a:gdLst>
                        <a:gd name="T0" fmla="*/ 318 w 1140"/>
                        <a:gd name="T1" fmla="*/ 0 h 289"/>
                        <a:gd name="T2" fmla="*/ 1140 w 1140"/>
                        <a:gd name="T3" fmla="*/ 0 h 289"/>
                        <a:gd name="T4" fmla="*/ 855 w 1140"/>
                        <a:gd name="T5" fmla="*/ 289 h 289"/>
                        <a:gd name="T6" fmla="*/ 0 w 1140"/>
                        <a:gd name="T7" fmla="*/ 289 h 289"/>
                        <a:gd name="T8" fmla="*/ 318 w 1140"/>
                        <a:gd name="T9" fmla="*/ 0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40" h="289">
                          <a:moveTo>
                            <a:pt x="318" y="0"/>
                          </a:moveTo>
                          <a:lnTo>
                            <a:pt x="1140" y="0"/>
                          </a:lnTo>
                          <a:lnTo>
                            <a:pt x="855" y="289"/>
                          </a:lnTo>
                          <a:lnTo>
                            <a:pt x="0" y="289"/>
                          </a:lnTo>
                          <a:lnTo>
                            <a:pt x="318" y="0"/>
                          </a:lnTo>
                          <a:close/>
                        </a:path>
                      </a:pathLst>
                    </a:custGeom>
                    <a:solidFill>
                      <a:srgbClr val="EEFF26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8" name="Rectangle 885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054" y="1587"/>
                      <a:ext cx="215" cy="82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FFC000"/>
                        </a:gs>
                        <a:gs pos="100000">
                          <a:srgbClr val="FFFF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9" name="Rectangle 887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298" y="1771"/>
                      <a:ext cx="228" cy="643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B80004"/>
                        </a:gs>
                        <a:gs pos="100000">
                          <a:srgbClr val="FF00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40" name="Freeform 888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526" y="1686"/>
                      <a:ext cx="85" cy="727"/>
                    </a:xfrm>
                    <a:custGeom>
                      <a:avLst/>
                      <a:gdLst>
                        <a:gd name="T0" fmla="*/ 342 w 342"/>
                        <a:gd name="T1" fmla="*/ 0 h 2911"/>
                        <a:gd name="T2" fmla="*/ 342 w 342"/>
                        <a:gd name="T3" fmla="*/ 2477 h 2911"/>
                        <a:gd name="T4" fmla="*/ 0 w 342"/>
                        <a:gd name="T5" fmla="*/ 2911 h 2911"/>
                        <a:gd name="T6" fmla="*/ 0 w 342"/>
                        <a:gd name="T7" fmla="*/ 334 h 2911"/>
                        <a:gd name="T8" fmla="*/ 342 w 342"/>
                        <a:gd name="T9" fmla="*/ 0 h 29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911">
                          <a:moveTo>
                            <a:pt x="342" y="0"/>
                          </a:moveTo>
                          <a:lnTo>
                            <a:pt x="342" y="2477"/>
                          </a:lnTo>
                          <a:lnTo>
                            <a:pt x="0" y="2911"/>
                          </a:lnTo>
                          <a:lnTo>
                            <a:pt x="0" y="334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C2001B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</p:grpSp>
              <p:sp>
                <p:nvSpPr>
                  <p:cNvPr id="131" name="Vrije vorm 130"/>
                  <p:cNvSpPr/>
                  <p:nvPr userDrawn="1"/>
                </p:nvSpPr>
                <p:spPr>
                  <a:xfrm>
                    <a:off x="11389225" y="1241176"/>
                    <a:ext cx="506025" cy="137883"/>
                  </a:xfrm>
                  <a:custGeom>
                    <a:avLst/>
                    <a:gdLst>
                      <a:gd name="connsiteX0" fmla="*/ 0 w 508407"/>
                      <a:gd name="connsiteY0" fmla="*/ 142646 h 146304"/>
                      <a:gd name="connsiteX1" fmla="*/ 369418 w 508407"/>
                      <a:gd name="connsiteY1" fmla="*/ 146304 h 146304"/>
                      <a:gd name="connsiteX2" fmla="*/ 508407 w 508407"/>
                      <a:gd name="connsiteY2" fmla="*/ 0 h 146304"/>
                      <a:gd name="connsiteX3" fmla="*/ 168250 w 508407"/>
                      <a:gd name="connsiteY3" fmla="*/ 0 h 146304"/>
                      <a:gd name="connsiteX4" fmla="*/ 0 w 508407"/>
                      <a:gd name="connsiteY4" fmla="*/ 142646 h 146304"/>
                      <a:gd name="connsiteX0" fmla="*/ 0 w 508407"/>
                      <a:gd name="connsiteY0" fmla="*/ 142646 h 142646"/>
                      <a:gd name="connsiteX1" fmla="*/ 376562 w 508407"/>
                      <a:gd name="connsiteY1" fmla="*/ 136779 h 142646"/>
                      <a:gd name="connsiteX2" fmla="*/ 508407 w 508407"/>
                      <a:gd name="connsiteY2" fmla="*/ 0 h 142646"/>
                      <a:gd name="connsiteX3" fmla="*/ 168250 w 508407"/>
                      <a:gd name="connsiteY3" fmla="*/ 0 h 142646"/>
                      <a:gd name="connsiteX4" fmla="*/ 0 w 508407"/>
                      <a:gd name="connsiteY4" fmla="*/ 142646 h 142646"/>
                      <a:gd name="connsiteX0" fmla="*/ 0 w 506025"/>
                      <a:gd name="connsiteY0" fmla="*/ 137883 h 137883"/>
                      <a:gd name="connsiteX1" fmla="*/ 374180 w 506025"/>
                      <a:gd name="connsiteY1" fmla="*/ 136779 h 137883"/>
                      <a:gd name="connsiteX2" fmla="*/ 506025 w 506025"/>
                      <a:gd name="connsiteY2" fmla="*/ 0 h 137883"/>
                      <a:gd name="connsiteX3" fmla="*/ 165868 w 506025"/>
                      <a:gd name="connsiteY3" fmla="*/ 0 h 137883"/>
                      <a:gd name="connsiteX4" fmla="*/ 0 w 506025"/>
                      <a:gd name="connsiteY4" fmla="*/ 137883 h 1378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6025" h="137883">
                        <a:moveTo>
                          <a:pt x="0" y="137883"/>
                        </a:moveTo>
                        <a:lnTo>
                          <a:pt x="374180" y="136779"/>
                        </a:lnTo>
                        <a:lnTo>
                          <a:pt x="506025" y="0"/>
                        </a:lnTo>
                        <a:lnTo>
                          <a:pt x="165868" y="0"/>
                        </a:lnTo>
                        <a:lnTo>
                          <a:pt x="0" y="137883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  <p:grpSp>
            <p:nvGrpSpPr>
              <p:cNvPr id="112" name="Groep 111"/>
              <p:cNvGrpSpPr/>
              <p:nvPr/>
            </p:nvGrpSpPr>
            <p:grpSpPr>
              <a:xfrm>
                <a:off x="12468521" y="6356844"/>
                <a:ext cx="133446" cy="114786"/>
                <a:chOff x="14587469" y="6356844"/>
                <a:chExt cx="133446" cy="114786"/>
              </a:xfrm>
            </p:grpSpPr>
            <p:sp>
              <p:nvSpPr>
                <p:cNvPr id="118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4588703" y="6379233"/>
                  <a:ext cx="130780" cy="91699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chemeClr val="bg2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19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4587469" y="6423761"/>
                  <a:ext cx="131076" cy="1446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0" name="Freeform 14"/>
                <p:cNvSpPr>
                  <a:spLocks noEditPoints="1"/>
                </p:cNvSpPr>
                <p:nvPr userDrawn="1"/>
              </p:nvSpPr>
              <p:spPr bwMode="auto">
                <a:xfrm>
                  <a:off x="14588901" y="6356844"/>
                  <a:ext cx="132014" cy="114786"/>
                </a:xfrm>
                <a:custGeom>
                  <a:avLst/>
                  <a:gdLst>
                    <a:gd name="T0" fmla="*/ 48 w 5347"/>
                    <a:gd name="T1" fmla="*/ 48 h 4605"/>
                    <a:gd name="T2" fmla="*/ 48 w 5347"/>
                    <a:gd name="T3" fmla="*/ 4557 h 4605"/>
                    <a:gd name="T4" fmla="*/ 5299 w 5347"/>
                    <a:gd name="T5" fmla="*/ 4557 h 4605"/>
                    <a:gd name="T6" fmla="*/ 5299 w 5347"/>
                    <a:gd name="T7" fmla="*/ 48 h 4605"/>
                    <a:gd name="T8" fmla="*/ 48 w 5347"/>
                    <a:gd name="T9" fmla="*/ 48 h 4605"/>
                    <a:gd name="T10" fmla="*/ 0 w 5347"/>
                    <a:gd name="T11" fmla="*/ 0 h 4605"/>
                    <a:gd name="T12" fmla="*/ 5347 w 5347"/>
                    <a:gd name="T13" fmla="*/ 0 h 4605"/>
                    <a:gd name="T14" fmla="*/ 5347 w 5347"/>
                    <a:gd name="T15" fmla="*/ 4605 h 4605"/>
                    <a:gd name="T16" fmla="*/ 0 w 5347"/>
                    <a:gd name="T17" fmla="*/ 4605 h 4605"/>
                    <a:gd name="T18" fmla="*/ 0 w 5347"/>
                    <a:gd name="T19" fmla="*/ 0 h 46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47" h="4605">
                      <a:moveTo>
                        <a:pt x="48" y="48"/>
                      </a:moveTo>
                      <a:lnTo>
                        <a:pt x="48" y="4557"/>
                      </a:lnTo>
                      <a:lnTo>
                        <a:pt x="5299" y="4557"/>
                      </a:lnTo>
                      <a:lnTo>
                        <a:pt x="5299" y="48"/>
                      </a:lnTo>
                      <a:lnTo>
                        <a:pt x="48" y="48"/>
                      </a:lnTo>
                      <a:close/>
                      <a:moveTo>
                        <a:pt x="0" y="0"/>
                      </a:moveTo>
                      <a:lnTo>
                        <a:pt x="5347" y="0"/>
                      </a:lnTo>
                      <a:lnTo>
                        <a:pt x="5347" y="4605"/>
                      </a:lnTo>
                      <a:lnTo>
                        <a:pt x="0" y="460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E5D8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cxnSp>
              <p:nvCxnSpPr>
                <p:cNvPr id="121" name="Rechte verbindingslijn 120"/>
                <p:cNvCxnSpPr/>
                <p:nvPr userDrawn="1"/>
              </p:nvCxnSpPr>
              <p:spPr>
                <a:xfrm flipH="1">
                  <a:off x="14654334" y="6382168"/>
                  <a:ext cx="162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Rechte verbindingslijn 121"/>
                <p:cNvCxnSpPr/>
                <p:nvPr userDrawn="1"/>
              </p:nvCxnSpPr>
              <p:spPr>
                <a:xfrm>
                  <a:off x="14689188" y="6382168"/>
                  <a:ext cx="0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Rechte verbindingslijn 122"/>
                <p:cNvCxnSpPr/>
                <p:nvPr userDrawn="1"/>
              </p:nvCxnSpPr>
              <p:spPr>
                <a:xfrm>
                  <a:off x="14619892" y="6382040"/>
                  <a:ext cx="0" cy="8577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Rechte verbindingslijn 123"/>
                <p:cNvCxnSpPr/>
                <p:nvPr userDrawn="1"/>
              </p:nvCxnSpPr>
              <p:spPr>
                <a:xfrm flipH="1">
                  <a:off x="14593115" y="6400164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Rechte verbindingslijn 124"/>
                <p:cNvCxnSpPr/>
                <p:nvPr userDrawn="1"/>
              </p:nvCxnSpPr>
              <p:spPr>
                <a:xfrm flipH="1">
                  <a:off x="14593115" y="6423860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Rechte verbindingslijn 125"/>
                <p:cNvCxnSpPr/>
                <p:nvPr userDrawn="1"/>
              </p:nvCxnSpPr>
              <p:spPr>
                <a:xfrm flipH="1">
                  <a:off x="14593115" y="6447556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7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4590283" y="6359138"/>
                  <a:ext cx="128657" cy="19347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192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13" name="Groep 112"/>
              <p:cNvGrpSpPr/>
              <p:nvPr/>
            </p:nvGrpSpPr>
            <p:grpSpPr>
              <a:xfrm>
                <a:off x="12529899" y="6421402"/>
                <a:ext cx="97399" cy="97399"/>
                <a:chOff x="14546483" y="5323041"/>
                <a:chExt cx="242460" cy="242460"/>
              </a:xfrm>
            </p:grpSpPr>
            <p:sp>
              <p:nvSpPr>
                <p:cNvPr id="114" name="Rechthoek 113"/>
                <p:cNvSpPr/>
                <p:nvPr userDrawn="1"/>
              </p:nvSpPr>
              <p:spPr>
                <a:xfrm>
                  <a:off x="14546483" y="5323041"/>
                  <a:ext cx="242460" cy="242460"/>
                </a:xfrm>
                <a:prstGeom prst="rect">
                  <a:avLst/>
                </a:prstGeom>
                <a:solidFill>
                  <a:schemeClr val="bg1"/>
                </a:solidFill>
                <a:ln w="6350">
                  <a:solidFill>
                    <a:srgbClr val="00A4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15" name="Groep 114"/>
                <p:cNvGrpSpPr/>
                <p:nvPr/>
              </p:nvGrpSpPr>
              <p:grpSpPr>
                <a:xfrm>
                  <a:off x="14568035" y="5357818"/>
                  <a:ext cx="199836" cy="175226"/>
                  <a:chOff x="14559757" y="5349611"/>
                  <a:chExt cx="216392" cy="191641"/>
                </a:xfrm>
              </p:grpSpPr>
              <p:sp>
                <p:nvSpPr>
                  <p:cNvPr id="116" name="Parallellogram 115"/>
                  <p:cNvSpPr/>
                  <p:nvPr/>
                </p:nvSpPr>
                <p:spPr>
                  <a:xfrm>
                    <a:off x="14559757" y="5369222"/>
                    <a:ext cx="214316" cy="147762"/>
                  </a:xfrm>
                  <a:prstGeom prst="parallelogram">
                    <a:avLst>
                      <a:gd name="adj" fmla="val 93909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17" name="Parallellogram 116"/>
                  <p:cNvSpPr/>
                  <p:nvPr/>
                </p:nvSpPr>
                <p:spPr>
                  <a:xfrm flipH="1">
                    <a:off x="14561833" y="5349611"/>
                    <a:ext cx="214316" cy="191641"/>
                  </a:xfrm>
                  <a:prstGeom prst="parallelogram">
                    <a:avLst>
                      <a:gd name="adj" fmla="val 68946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</p:grpSp>
        <p:sp>
          <p:nvSpPr>
            <p:cNvPr id="89" name="Rechthoek 88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RAFIEK INVOEGEN</a:t>
              </a:r>
            </a:p>
          </p:txBody>
        </p:sp>
        <p:sp>
          <p:nvSpPr>
            <p:cNvPr id="90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Klik op het icoon om een grafiek </a:t>
              </a:r>
              <a:b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in te voegen</a:t>
              </a:r>
            </a:p>
          </p:txBody>
        </p:sp>
        <p:sp>
          <p:nvSpPr>
            <p:cNvPr id="91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eer de grafiek die u wilt </a:t>
              </a:r>
              <a:b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invoegen en klik op </a:t>
              </a:r>
              <a:r>
                <a:rPr lang="nl-NL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Invoegen’</a:t>
              </a:r>
            </a:p>
          </p:txBody>
        </p:sp>
        <p:sp>
          <p:nvSpPr>
            <p:cNvPr id="92" name="Ovaal 91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93" name="Ovaal 92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94" name="Rechte verbindingslijn 93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5" name="Rechte verbindingslijn 94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6" name="Rechte verbindingslijn 95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7" name="Tekstvak 33"/>
            <p:cNvSpPr txBox="1"/>
            <p:nvPr/>
          </p:nvSpPr>
          <p:spPr>
            <a:xfrm>
              <a:off x="12479311" y="5259838"/>
              <a:ext cx="2588841" cy="447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eer de grafiek, klik op de rechter muisknop en kies </a:t>
              </a:r>
              <a:r>
                <a:rPr lang="nl-NL" sz="1200" b="1" kern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Gegevens bewerken’</a:t>
              </a:r>
            </a:p>
          </p:txBody>
        </p:sp>
        <p:cxnSp>
          <p:nvCxnSpPr>
            <p:cNvPr id="98" name="Rechte verbindingslijn 97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99" name="Groep 98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103" name="Afgeronde rechthoek 102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104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/>
                  <a:t>Invoegen</a:t>
                </a:r>
              </a:p>
            </p:txBody>
          </p:sp>
          <p:cxnSp>
            <p:nvCxnSpPr>
              <p:cNvPr id="105" name="Rechte verbindingslijn 104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6" name="Gelijkbenige driehoek 105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/>
              </a:p>
            </p:txBody>
          </p:sp>
        </p:grpSp>
        <p:sp>
          <p:nvSpPr>
            <p:cNvPr id="100" name="Rechthoek 99"/>
            <p:cNvSpPr/>
            <p:nvPr/>
          </p:nvSpPr>
          <p:spPr>
            <a:xfrm>
              <a:off x="12483705" y="4856599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RAFIEK BEWERKEN</a:t>
              </a:r>
            </a:p>
          </p:txBody>
        </p:sp>
        <p:cxnSp>
          <p:nvCxnSpPr>
            <p:cNvPr id="101" name="Rechte verbindingslijn 100"/>
            <p:cNvCxnSpPr/>
            <p:nvPr/>
          </p:nvCxnSpPr>
          <p:spPr>
            <a:xfrm>
              <a:off x="12487778" y="5145063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102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54186" y="6395104"/>
              <a:ext cx="158644" cy="2564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28484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9918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enter title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58927" y="1092201"/>
            <a:ext cx="11274147" cy="4680000"/>
          </a:xfrm>
        </p:spPr>
        <p:txBody>
          <a:bodyPr vert="horz"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GB" sz="2800" kern="1200" noProof="0" dirty="0" smtClean="0">
                <a:solidFill>
                  <a:srgbClr val="656565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GB" sz="2800" kern="1200" noProof="0" dirty="0" smtClean="0">
                <a:solidFill>
                  <a:srgbClr val="656565"/>
                </a:solidFill>
                <a:latin typeface="+mn-lt"/>
                <a:ea typeface="+mn-ea"/>
                <a:cs typeface="+mn-cs"/>
              </a:defRPr>
            </a:lvl2pPr>
            <a:lvl3pPr marL="457200" indent="-4572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lang="en-GB" sz="2800" kern="1200" noProof="0" dirty="0" smtClean="0">
                <a:solidFill>
                  <a:srgbClr val="656565"/>
                </a:solidFill>
                <a:latin typeface="+mn-lt"/>
                <a:ea typeface="+mn-ea"/>
                <a:cs typeface="+mn-cs"/>
              </a:defRPr>
            </a:lvl3pPr>
            <a:lvl4pPr marL="6254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GB" sz="2800" kern="1200" noProof="0" dirty="0" smtClean="0">
                <a:solidFill>
                  <a:srgbClr val="656565"/>
                </a:solidFill>
                <a:latin typeface="+mn-lt"/>
                <a:ea typeface="+mn-ea"/>
                <a:cs typeface="+mn-cs"/>
              </a:defRPr>
            </a:lvl4pPr>
            <a:lvl5pPr marL="80645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GB" sz="2800" kern="1200" noProof="0" dirty="0" smtClean="0">
                <a:solidFill>
                  <a:srgbClr val="656565"/>
                </a:solidFill>
                <a:latin typeface="+mn-lt"/>
                <a:ea typeface="+mn-ea"/>
                <a:cs typeface="+mn-cs"/>
              </a:defRPr>
            </a:lvl5pPr>
            <a:lvl6pPr>
              <a:defRPr sz="28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 noProof="0"/>
              <a:t>This is header 1</a:t>
            </a:r>
          </a:p>
          <a:p>
            <a:pPr lvl="1"/>
            <a:r>
              <a:rPr lang="en-GB" noProof="0"/>
              <a:t>This is standard text</a:t>
            </a:r>
          </a:p>
          <a:p>
            <a:pPr lvl="2"/>
            <a:r>
              <a:rPr lang="en-GB" noProof="0"/>
              <a:t>First bullet level</a:t>
            </a:r>
          </a:p>
          <a:p>
            <a:pPr lvl="3"/>
            <a:r>
              <a:rPr lang="en-GB" noProof="0"/>
              <a:t>Second bullet level</a:t>
            </a:r>
          </a:p>
          <a:p>
            <a:pPr lvl="4"/>
            <a:r>
              <a:rPr lang="en-GB" noProof="0"/>
              <a:t>Third bullet level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5194300" y="-520700"/>
            <a:ext cx="6997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/>
              <a:t>Index</a:t>
            </a:r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85" name="Rechthoek 84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XT LEVELS</a:t>
              </a:r>
            </a:p>
          </p:txBody>
        </p:sp>
        <p:sp>
          <p:nvSpPr>
            <p:cNvPr id="86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ird bullets  (24 pt.)</a:t>
              </a:r>
            </a:p>
          </p:txBody>
        </p:sp>
        <p:sp>
          <p:nvSpPr>
            <p:cNvPr id="87" name="Ovaal 86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88" name="Ovaal 87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89" name="Ovaal 88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90" name="Ovaal 89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91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defPPr>
                <a:defRPr lang="nl-NL"/>
              </a:defPPr>
              <a:lvl1pPr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/>
              </a:lvl1pPr>
              <a:lvl2pPr marL="228600" lvl="1" indent="-228600" defTabSz="1087016" fontAlgn="auto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+mj-lt"/>
                <a:buAutoNum type="arabicPeriod"/>
                <a:tabLst/>
                <a:defRPr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defRPr>
              </a:lvl2pPr>
              <a:lvl3pPr marL="396875" indent="-160338" defTabSz="1087016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/>
              </a:lvl3pPr>
              <a:lvl4pPr marL="0" indent="0" defTabSz="1087016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/>
              </a:lvl4pPr>
              <a:lvl5pPr marL="0" indent="0" defTabSz="1087016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baseline="0">
                  <a:solidFill>
                    <a:schemeClr val="tx2"/>
                  </a:solidFill>
                </a:defRPr>
              </a:lvl5pPr>
              <a:lvl6pPr marL="0" indent="0" defTabSz="1087016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6pPr>
              <a:lvl7pPr marL="3532800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7pPr>
              <a:lvl8pPr marL="4076308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8pPr>
              <a:lvl9pPr marL="4619815" indent="-271753" defTabSz="1087016">
                <a:spcBef>
                  <a:spcPct val="20000"/>
                </a:spcBef>
                <a:buFont typeface="Arial" pitchFamily="34" charset="0"/>
                <a:buChar char="•"/>
                <a:defRPr sz="2400"/>
              </a:lvl9pPr>
            </a:lstStyle>
            <a:p>
              <a:pPr lvl="1"/>
              <a:r>
                <a:rPr lang="nl-NL"/>
                <a:t>Numbers bullets  (24 pt.)</a:t>
              </a:r>
            </a:p>
          </p:txBody>
        </p:sp>
        <p:sp>
          <p:nvSpPr>
            <p:cNvPr id="92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Second bullets (24 pt.)</a:t>
              </a:r>
            </a:p>
          </p:txBody>
        </p:sp>
        <p:cxnSp>
          <p:nvCxnSpPr>
            <p:cNvPr id="93" name="Rechte verbindingslijn 92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4" name="Rechte verbindingslijn 93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5" name="Rechte verbindingslijn 94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6" name="Groep 95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146" name="Afgeronde rechthoek 145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147" name="Groep 146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148" name="Rechthoek 147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49" name="Rechthoek 148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50" name="Rechthoek 149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51" name="Rechthoek 150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52" name="Rechthoek 151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53" name="Rechthoek 152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54" name="Rechthoek 153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55" name="Rechthoek 154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56" name="Rechthoek 155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57" name="Rechthoek 156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58" name="Vrije vorm 157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97" name="Groep 96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124" name="Rechthoek 123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125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26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27" name="Groep 126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141" name="Rechthoek 140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42" name="Rechthoek 141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43" name="Rechthoek 142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44" name="Rechthoek 143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45" name="Rechthoek 144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128" name="Groep 127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129" name="Groep 128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136" name="Rechthoek 135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137" name="Rechthoek 136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138" name="Rechthoek 137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139" name="Rechthoek 138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140" name="Rechthoek 139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130" name="Groep 129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131" name="Rechthoek 130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132" name="Rechthoek 131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133" name="Rechthoek 132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134" name="Rechthoek 133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135" name="Rechthoek 134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98" name="Groep 97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111" name="Afgeronde rechthoek 110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112" name="Groep 111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113" name="Rechthoek 112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14" name="Rechthoek 113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15" name="Rechthoek 114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16" name="Rechthoek 115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17" name="Rechthoek 116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18" name="Rechthoek 117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19" name="Rechthoek 118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20" name="Rechthoek 119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21" name="Rechthoek 120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22" name="Rechthoek 121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23" name="Vrije vorm 122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99" name="Rechte verbindingslijn 98"/>
            <p:cNvCxnSpPr>
              <a:endCxn id="111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100" name="Rechte verbindingslijn 99"/>
            <p:cNvCxnSpPr>
              <a:endCxn id="146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101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up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2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Level down</a:t>
              </a:r>
            </a:p>
          </p:txBody>
        </p:sp>
        <p:sp>
          <p:nvSpPr>
            <p:cNvPr id="103" name="Ovaal 102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104" name="Groep 103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109" name="Afgeronde rechthoek 108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10" name="Vrije vorm 109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105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Standard text (24 pt.) </a:t>
              </a:r>
            </a:p>
          </p:txBody>
        </p:sp>
        <p:sp>
          <p:nvSpPr>
            <p:cNvPr id="106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Header 1 (28 pt.)</a:t>
              </a:r>
            </a:p>
          </p:txBody>
        </p:sp>
        <p:sp>
          <p:nvSpPr>
            <p:cNvPr id="107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o to the tab Start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ere you will find two buttons as shown below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By means these buttons you can easily switch between text levels.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cxnSp>
          <p:nvCxnSpPr>
            <p:cNvPr id="108" name="Rechte verbindingslijn 107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973934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 hidden="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0204" y="0"/>
            <a:ext cx="12131592" cy="68580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84909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/>
              <a:t>Titeldia</a:t>
            </a:r>
            <a:endParaRPr lang="nl-NL"/>
          </a:p>
        </p:txBody>
      </p:sp>
      <p:sp>
        <p:nvSpPr>
          <p:cNvPr id="270" name="Rechthoek 269"/>
          <p:cNvSpPr/>
          <p:nvPr userDrawn="1"/>
        </p:nvSpPr>
        <p:spPr>
          <a:xfrm>
            <a:off x="-3174" y="1"/>
            <a:ext cx="12198349" cy="2253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0" name="Titel 1"/>
          <p:cNvSpPr>
            <a:spLocks noGrp="1"/>
          </p:cNvSpPr>
          <p:nvPr>
            <p:ph type="title" hasCustomPrompt="1"/>
          </p:nvPr>
        </p:nvSpPr>
        <p:spPr>
          <a:xfrm>
            <a:off x="4810125" y="2034552"/>
            <a:ext cx="6922949" cy="1548650"/>
          </a:xfrm>
        </p:spPr>
        <p:txBody>
          <a:bodyPr anchor="b"/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nl-NL" noProof="0"/>
              <a:t>Titel van deze presentatie</a:t>
            </a:r>
          </a:p>
        </p:txBody>
      </p:sp>
      <p:sp>
        <p:nvSpPr>
          <p:cNvPr id="131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810125" y="3570263"/>
            <a:ext cx="6922800" cy="601738"/>
          </a:xfrm>
        </p:spPr>
        <p:txBody>
          <a:bodyPr vert="horz"/>
          <a:lstStyle>
            <a:lvl1pPr>
              <a:defRPr>
                <a:solidFill>
                  <a:srgbClr val="62646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NL" noProof="0"/>
              <a:t>Spreker | Plaats</a:t>
            </a:r>
          </a:p>
        </p:txBody>
      </p:sp>
      <p:sp>
        <p:nvSpPr>
          <p:cNvPr id="9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717114" y="44387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rgbClr val="626465"/>
                </a:solidFill>
              </a:defRPr>
            </a:lvl1pPr>
          </a:lstStyle>
          <a:p>
            <a:fld id="{1A6F88E9-D7DE-4D78-82D4-5094D6306580}" type="datetime4">
              <a:rPr lang="nl-NL" smtClean="0"/>
              <a:t>5 september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6280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7" y="1092201"/>
            <a:ext cx="11274147" cy="4680000"/>
          </a:xfrm>
        </p:spPr>
        <p:txBody>
          <a:bodyPr vert="horz" anchor="ctr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8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400"/>
            </a:lvl2pPr>
            <a:lvl3pPr marL="45720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/>
            </a:lvl3pPr>
            <a:lvl4pPr marL="625475" indent="-1809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400"/>
            </a:lvl4pPr>
            <a:lvl5pPr marL="806450" indent="-1809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400"/>
            </a:lvl5pPr>
            <a:lvl6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800"/>
            </a:lvl6pPr>
            <a:lvl7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400"/>
            </a:lvl8pPr>
            <a:lvl9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© Copyright SIDN | 2016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4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600" lvl="1" indent="-228600" fontAlgn="auto">
                <a:buClr>
                  <a:srgbClr val="656565"/>
                </a:buClr>
                <a:buSzPct val="115000"/>
                <a:buFont typeface="+mj-lt"/>
                <a:buAutoNum type="arabicPeriod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Numerieke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4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4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4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8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5194300" y="-520700"/>
            <a:ext cx="6997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/>
              <a:t>Inhoudsopgave</a:t>
            </a:r>
          </a:p>
        </p:txBody>
      </p:sp>
    </p:spTree>
    <p:extLst>
      <p:ext uri="{BB962C8B-B14F-4D97-AF65-F5344CB8AC3E}">
        <p14:creationId xmlns:p14="http://schemas.microsoft.com/office/powerpoint/2010/main" val="4222047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eks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7" y="1092201"/>
            <a:ext cx="11274147" cy="4680000"/>
          </a:xfrm>
        </p:spPr>
        <p:txBody>
          <a:bodyPr vert="horz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© Copyright SIDN | 2016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5194300" y="-520700"/>
            <a:ext cx="6997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/>
              <a:t>Titel + tekst (100%)</a:t>
            </a:r>
          </a:p>
        </p:txBody>
      </p:sp>
    </p:spTree>
    <p:extLst>
      <p:ext uri="{BB962C8B-B14F-4D97-AF65-F5344CB8AC3E}">
        <p14:creationId xmlns:p14="http://schemas.microsoft.com/office/powerpoint/2010/main" val="2553718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Afbeelding (75%/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8" y="1092201"/>
            <a:ext cx="7742111" cy="4680000"/>
          </a:xfrm>
        </p:spPr>
        <p:txBody>
          <a:bodyPr vert="horz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8585200" y="1092201"/>
            <a:ext cx="3147874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/>
              <a:t>Tekst +</a:t>
            </a:r>
            <a:r>
              <a:rPr lang="nl-NL" baseline="0"/>
              <a:t> Afbeelding (75%/25%)</a:t>
            </a:r>
            <a:endParaRPr lang="nl-NL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95323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Afbeelding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9" y="1092201"/>
            <a:ext cx="5268770" cy="4680000"/>
          </a:xfrm>
        </p:spPr>
        <p:txBody>
          <a:bodyPr vert="horz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6083300" y="1092201"/>
            <a:ext cx="5649774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/>
              <a:t>Tekst +</a:t>
            </a:r>
            <a:r>
              <a:rPr lang="nl-NL" baseline="0"/>
              <a:t> Afbeelding (50%/50%)</a:t>
            </a:r>
            <a:endParaRPr lang="nl-NL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93568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Afbeelding (25%/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9" y="1092201"/>
            <a:ext cx="2914706" cy="4680000"/>
          </a:xfrm>
        </p:spPr>
        <p:txBody>
          <a:bodyPr vert="horz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3695700" y="1092201"/>
            <a:ext cx="8037374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/>
              <a:t>Tekst +</a:t>
            </a:r>
            <a:r>
              <a:rPr lang="nl-NL" baseline="0"/>
              <a:t> Afbeelding (25%/75%)</a:t>
            </a:r>
            <a:endParaRPr lang="nl-NL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034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+ Tekst (25%/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987800" y="1092201"/>
            <a:ext cx="7745274" cy="4680000"/>
          </a:xfrm>
        </p:spPr>
        <p:txBody>
          <a:bodyPr vert="horz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458927" y="1092201"/>
            <a:ext cx="3147874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/>
              <a:t>Afbeelding + </a:t>
            </a:r>
            <a:r>
              <a:rPr lang="nl-NL"/>
              <a:t>Tekst</a:t>
            </a:r>
            <a:r>
              <a:rPr lang="nl-NL" baseline="0"/>
              <a:t> (25%/75%)</a:t>
            </a:r>
            <a:endParaRPr lang="nl-NL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5630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+ Tekst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6451600" y="1092201"/>
            <a:ext cx="5281474" cy="4680000"/>
          </a:xfrm>
        </p:spPr>
        <p:txBody>
          <a:bodyPr vert="horz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458927" y="1092201"/>
            <a:ext cx="5552610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/>
              <a:t>Afbeelding + </a:t>
            </a:r>
            <a:r>
              <a:rPr lang="nl-NL"/>
              <a:t>Tekst</a:t>
            </a:r>
            <a:r>
              <a:rPr lang="nl-NL" baseline="0"/>
              <a:t> (50%/50%)</a:t>
            </a:r>
            <a:endParaRPr lang="nl-NL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12372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IDN Labs logo.eps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6543" y="6063814"/>
            <a:ext cx="1188898" cy="5842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546048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  <a:prstGeom prst="rect">
            <a:avLst/>
          </a:prstGeom>
        </p:spPr>
        <p:txBody>
          <a:bodyPr vert="horz" lIns="0" tIns="108000" rIns="108000" bIns="108000" rtlCol="0" anchor="ctr">
            <a:noAutofit/>
          </a:bodyPr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8927" y="1092201"/>
            <a:ext cx="11274147" cy="4680000"/>
          </a:xfrm>
          <a:prstGeom prst="rect">
            <a:avLst/>
          </a:prstGeom>
        </p:spPr>
        <p:txBody>
          <a:bodyPr vert="horz" lIns="0" tIns="108000" rIns="108000" bIns="108000" rtlCol="0">
            <a:noAutofit/>
          </a:bodyPr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</a:t>
            </a:r>
          </a:p>
          <a:p>
            <a:pPr lvl="6"/>
            <a:r>
              <a:rPr lang="nl-NL"/>
              <a:t>Zeven</a:t>
            </a:r>
          </a:p>
          <a:p>
            <a:pPr lvl="7"/>
            <a:r>
              <a:rPr lang="nl-NL"/>
              <a:t>Acht</a:t>
            </a:r>
          </a:p>
          <a:p>
            <a:pPr lvl="8"/>
            <a:r>
              <a:rPr lang="nl-NL"/>
              <a:t>Negen</a:t>
            </a:r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58926" y="6214022"/>
            <a:ext cx="5268773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nl-NL" noProof="0"/>
              <a:t>© Copyright SIDN | 2016</a:t>
            </a:r>
          </a:p>
        </p:txBody>
      </p:sp>
    </p:spTree>
    <p:extLst>
      <p:ext uri="{BB962C8B-B14F-4D97-AF65-F5344CB8AC3E}">
        <p14:creationId xmlns:p14="http://schemas.microsoft.com/office/powerpoint/2010/main" val="2306949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705" r:id="rId2"/>
    <p:sldLayoutId id="2147483706" r:id="rId3"/>
    <p:sldLayoutId id="2147483693" r:id="rId4"/>
    <p:sldLayoutId id="2147483692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7" r:id="rId17"/>
    <p:sldLayoutId id="2147483708" r:id="rId18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400" kern="1200">
          <a:solidFill>
            <a:srgbClr val="656565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rgbClr val="656565"/>
          </a:solidFill>
          <a:latin typeface="+mn-lt"/>
          <a:ea typeface="+mn-ea"/>
          <a:cs typeface="+mn-cs"/>
        </a:defRPr>
      </a:lvl2pPr>
      <a:lvl3pPr marL="17780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3pPr>
      <a:lvl4pPr marL="35560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4pPr>
      <a:lvl5pPr marL="53340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400" kern="1200">
          <a:solidFill>
            <a:srgbClr val="656565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rgbClr val="656565"/>
          </a:solidFill>
          <a:latin typeface="+mn-lt"/>
          <a:ea typeface="+mn-ea"/>
          <a:cs typeface="+mn-cs"/>
        </a:defRPr>
      </a:lvl7pPr>
      <a:lvl8pPr marL="17780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8pPr>
      <a:lvl9pPr marL="35560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24_FDE32ED8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E58D4_EB7F8A88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E58D8_A874F319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F_4C30218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Titel 236"/>
          <p:cNvSpPr>
            <a:spLocks noGrp="1"/>
          </p:cNvSpPr>
          <p:nvPr>
            <p:ph type="title"/>
          </p:nvPr>
        </p:nvSpPr>
        <p:spPr>
          <a:xfrm>
            <a:off x="4810126" y="2034552"/>
            <a:ext cx="6652532" cy="1548650"/>
          </a:xfrm>
        </p:spPr>
        <p:txBody>
          <a:bodyPr/>
          <a:lstStyle/>
          <a:p>
            <a:r>
              <a:rPr lang="nl-NL" dirty="0" err="1"/>
              <a:t>Deleting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domain? </a:t>
            </a:r>
            <a:r>
              <a:rPr lang="nl-NL" dirty="0" err="1"/>
              <a:t>Preventing</a:t>
            </a:r>
            <a:r>
              <a:rPr lang="nl-NL" dirty="0"/>
              <a:t> data </a:t>
            </a:r>
            <a:r>
              <a:rPr lang="nl-NL" dirty="0" err="1"/>
              <a:t>leaks</a:t>
            </a:r>
            <a:r>
              <a:rPr lang="nl-NL" dirty="0"/>
              <a:t> at TLD </a:t>
            </a:r>
            <a:r>
              <a:rPr lang="nl-NL" dirty="0" err="1"/>
              <a:t>scale</a:t>
            </a:r>
            <a:endParaRPr lang="nl-NL" dirty="0"/>
          </a:p>
        </p:txBody>
      </p:sp>
      <p:sp>
        <p:nvSpPr>
          <p:cNvPr id="240" name="Tijdelijke aanduiding voor verticale tekst 239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/>
              <a:t>Maarten Wullink | DNS OARC 41</a:t>
            </a:r>
          </a:p>
          <a:p>
            <a:endParaRPr lang="nl-NL"/>
          </a:p>
        </p:txBody>
      </p:sp>
      <p:sp>
        <p:nvSpPr>
          <p:cNvPr id="2" name="Tijdelijke aanduiding voor datum 1"/>
          <p:cNvSpPr>
            <a:spLocks noGrp="1"/>
          </p:cNvSpPr>
          <p:nvPr>
            <p:ph type="dt" sz="half" idx="2"/>
          </p:nvPr>
        </p:nvSpPr>
        <p:spPr>
          <a:xfrm>
            <a:off x="4723626" y="4172001"/>
            <a:ext cx="5872022" cy="365125"/>
          </a:xfrm>
        </p:spPr>
        <p:txBody>
          <a:bodyPr/>
          <a:lstStyle/>
          <a:p>
            <a:r>
              <a:rPr lang="nl-NL" dirty="0"/>
              <a:t>September 6 2023, Da </a:t>
            </a:r>
            <a:r>
              <a:rPr lang="nl-NL" dirty="0" err="1"/>
              <a:t>Nang</a:t>
            </a:r>
            <a:r>
              <a:rPr lang="nl-NL" dirty="0"/>
              <a:t>, Vietnam</a:t>
            </a:r>
          </a:p>
        </p:txBody>
      </p:sp>
    </p:spTree>
    <p:extLst>
      <p:ext uri="{BB962C8B-B14F-4D97-AF65-F5344CB8AC3E}">
        <p14:creationId xmlns:p14="http://schemas.microsoft.com/office/powerpoint/2010/main" val="37564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0B58E3-409E-3C4C-832D-F0EC5203D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 Alerts Rules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25E06A3A-D494-0C4B-85B4-61BBDAB41C5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anchor="t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b="1" dirty="0"/>
              <a:t>Risk </a:t>
            </a:r>
            <a:r>
              <a:rPr lang="nl-NL" sz="2000" b="1" dirty="0" err="1"/>
              <a:t>categories</a:t>
            </a:r>
            <a:endParaRPr lang="nl-NL" sz="2000" b="1" dirty="0"/>
          </a:p>
          <a:p>
            <a:pPr marL="800100" lvl="2" indent="-342900">
              <a:buFont typeface="Arial" panose="020B0604020202020204" pitchFamily="34" charset="0"/>
              <a:buChar char="•"/>
            </a:pPr>
            <a:r>
              <a:rPr lang="nl-NL" sz="2000" dirty="0" err="1"/>
              <a:t>Based</a:t>
            </a:r>
            <a:r>
              <a:rPr lang="nl-NL" sz="2000" dirty="0"/>
              <a:t> on 10-day </a:t>
            </a:r>
            <a:r>
              <a:rPr lang="nl-NL" sz="2000" dirty="0" err="1"/>
              <a:t>average</a:t>
            </a:r>
            <a:r>
              <a:rPr lang="nl-NL" sz="2000" dirty="0"/>
              <a:t> of </a:t>
            </a:r>
            <a:r>
              <a:rPr lang="nl-NL" sz="2000" dirty="0" err="1"/>
              <a:t>daily</a:t>
            </a:r>
            <a:r>
              <a:rPr lang="nl-NL" sz="2000" dirty="0"/>
              <a:t> MX </a:t>
            </a:r>
            <a:r>
              <a:rPr lang="nl-NL" sz="2000" dirty="0" err="1"/>
              <a:t>queries</a:t>
            </a:r>
            <a:r>
              <a:rPr lang="nl-NL" sz="2000" dirty="0"/>
              <a:t> (</a:t>
            </a:r>
            <a:r>
              <a:rPr lang="nl-NL" sz="2000" dirty="0" err="1"/>
              <a:t>after</a:t>
            </a:r>
            <a:r>
              <a:rPr lang="nl-NL" sz="2000" dirty="0"/>
              <a:t> filtering)</a:t>
            </a:r>
          </a:p>
          <a:p>
            <a:pPr marL="625475" lvl="4" indent="0">
              <a:buNone/>
            </a:pPr>
            <a:r>
              <a:rPr lang="nl-NL" sz="1600" dirty="0"/>
              <a:t>	&lt;= 5  low</a:t>
            </a:r>
          </a:p>
          <a:p>
            <a:pPr marL="625475" lvl="4" indent="0">
              <a:buNone/>
            </a:pPr>
            <a:r>
              <a:rPr lang="nl-NL" sz="1600" dirty="0"/>
              <a:t>	&gt; 5 en &lt;= 10 medium</a:t>
            </a:r>
          </a:p>
          <a:p>
            <a:pPr marL="625475" lvl="4" indent="0">
              <a:buNone/>
            </a:pPr>
            <a:r>
              <a:rPr lang="nl-NL" sz="1600" dirty="0"/>
              <a:t>	&gt; 10 hig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b="1" dirty="0"/>
              <a:t>Special </a:t>
            </a:r>
            <a:r>
              <a:rPr lang="nl-NL" sz="2000" b="1" dirty="0" err="1"/>
              <a:t>conditions</a:t>
            </a:r>
            <a:endParaRPr lang="nl-NL" sz="2000" dirty="0"/>
          </a:p>
          <a:p>
            <a:pPr marL="800100" lvl="2" indent="-342900">
              <a:buFont typeface="Arial" panose="020B0604020202020204" pitchFamily="34" charset="0"/>
              <a:buChar char="•"/>
            </a:pPr>
            <a:r>
              <a:rPr lang="nl-NL" sz="1600" dirty="0" err="1"/>
              <a:t>If</a:t>
            </a:r>
            <a:r>
              <a:rPr lang="nl-NL" sz="1600" dirty="0"/>
              <a:t> </a:t>
            </a:r>
            <a:r>
              <a:rPr lang="nl-NL" sz="1600" dirty="0" err="1"/>
              <a:t>keyword</a:t>
            </a:r>
            <a:r>
              <a:rPr lang="nl-NL" sz="1600" dirty="0"/>
              <a:t> or business </a:t>
            </a:r>
            <a:r>
              <a:rPr lang="nl-NL" sz="1600" dirty="0" err="1"/>
              <a:t>activity</a:t>
            </a:r>
            <a:r>
              <a:rPr lang="nl-NL" sz="1600" dirty="0"/>
              <a:t> match, </a:t>
            </a:r>
            <a:r>
              <a:rPr lang="nl-NL" sz="1600" dirty="0" err="1"/>
              <a:t>then</a:t>
            </a:r>
            <a:r>
              <a:rPr lang="nl-NL" sz="1600" dirty="0"/>
              <a:t> risk is high</a:t>
            </a:r>
          </a:p>
          <a:p>
            <a:pPr marL="800100" lvl="2" indent="-342900">
              <a:buFont typeface="Arial" panose="020B0604020202020204" pitchFamily="34" charset="0"/>
              <a:buChar char="•"/>
            </a:pPr>
            <a:r>
              <a:rPr lang="nl-NL" sz="1600" dirty="0" err="1"/>
              <a:t>If</a:t>
            </a:r>
            <a:r>
              <a:rPr lang="nl-NL" sz="1600" dirty="0"/>
              <a:t> email </a:t>
            </a:r>
            <a:r>
              <a:rPr lang="nl-NL" sz="1600" dirty="0" err="1"/>
              <a:t>address</a:t>
            </a:r>
            <a:r>
              <a:rPr lang="nl-NL" sz="1600" dirty="0"/>
              <a:t> is found on website, </a:t>
            </a:r>
            <a:r>
              <a:rPr lang="nl-NL" sz="1600" dirty="0" err="1"/>
              <a:t>then</a:t>
            </a:r>
            <a:r>
              <a:rPr lang="nl-NL" sz="1600" dirty="0"/>
              <a:t> </a:t>
            </a:r>
            <a:r>
              <a:rPr lang="nl-NL" sz="1600" dirty="0" err="1"/>
              <a:t>atleast</a:t>
            </a:r>
            <a:r>
              <a:rPr lang="nl-NL" sz="1600" dirty="0"/>
              <a:t> medium</a:t>
            </a:r>
          </a:p>
          <a:p>
            <a:pPr marL="342900" indent="-342900">
              <a:buFontTx/>
              <a:buChar char="-"/>
            </a:pPr>
            <a:endParaRPr lang="nl-NL" sz="2000" dirty="0"/>
          </a:p>
        </p:txBody>
      </p:sp>
    </p:spTree>
    <p:extLst>
      <p:ext uri="{BB962C8B-B14F-4D97-AF65-F5344CB8AC3E}">
        <p14:creationId xmlns:p14="http://schemas.microsoft.com/office/powerpoint/2010/main" val="1267112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0B58E3-409E-3C4C-832D-F0EC5203D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 Alert Message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25E06A3A-D494-0C4B-85B4-61BBDAB41C5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anchor="t"/>
          <a:lstStyle/>
          <a:p>
            <a:r>
              <a:rPr lang="nl-NL" sz="2000" b="1" dirty="0"/>
              <a:t>Message is sent on </a:t>
            </a:r>
            <a:r>
              <a:rPr lang="nl-NL" sz="2000" b="1" dirty="0" err="1"/>
              <a:t>day</a:t>
            </a:r>
            <a:r>
              <a:rPr lang="nl-NL" sz="2000" b="1" dirty="0"/>
              <a:t> 30 of 40 </a:t>
            </a:r>
            <a:r>
              <a:rPr lang="nl-NL" sz="2000" b="1" dirty="0" err="1"/>
              <a:t>day</a:t>
            </a:r>
            <a:r>
              <a:rPr lang="nl-NL" sz="2000" b="1" dirty="0"/>
              <a:t> </a:t>
            </a:r>
            <a:r>
              <a:rPr lang="nl-NL" sz="2000" b="1" dirty="0" err="1"/>
              <a:t>quarantine</a:t>
            </a:r>
            <a:r>
              <a:rPr lang="nl-NL" sz="2000" b="1" dirty="0"/>
              <a:t> </a:t>
            </a:r>
            <a:r>
              <a:rPr lang="nl-NL" sz="2000" b="1" dirty="0" err="1"/>
              <a:t>period</a:t>
            </a:r>
            <a:endParaRPr lang="nl-NL" sz="20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 err="1"/>
              <a:t>Designed</a:t>
            </a:r>
            <a:r>
              <a:rPr lang="nl-NL" sz="2000" dirty="0"/>
              <a:t> in </a:t>
            </a:r>
            <a:r>
              <a:rPr lang="nl-NL" sz="2000" dirty="0" err="1"/>
              <a:t>collaboration</a:t>
            </a:r>
            <a:r>
              <a:rPr lang="nl-NL" sz="2000" dirty="0"/>
              <a:t> </a:t>
            </a:r>
            <a:r>
              <a:rPr lang="nl-NL" sz="2000" dirty="0" err="1"/>
              <a:t>with</a:t>
            </a:r>
            <a:r>
              <a:rPr lang="nl-NL" sz="2000" dirty="0"/>
              <a:t> registrars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registrants</a:t>
            </a:r>
            <a:endParaRPr lang="nl-NL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 err="1"/>
              <a:t>Explain</a:t>
            </a:r>
            <a:r>
              <a:rPr lang="nl-NL" sz="2000" dirty="0"/>
              <a:t> </a:t>
            </a:r>
            <a:r>
              <a:rPr lang="nl-NL" sz="2000" dirty="0" err="1"/>
              <a:t>about</a:t>
            </a:r>
            <a:r>
              <a:rPr lang="nl-NL" sz="2000" dirty="0"/>
              <a:t> </a:t>
            </a:r>
            <a:r>
              <a:rPr lang="nl-NL" sz="2000" dirty="0" err="1"/>
              <a:t>the</a:t>
            </a:r>
            <a:r>
              <a:rPr lang="nl-NL" sz="2000" dirty="0"/>
              <a:t> ris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Offer </a:t>
            </a:r>
            <a:r>
              <a:rPr lang="nl-NL" sz="2000" dirty="0" err="1"/>
              <a:t>suggestions</a:t>
            </a:r>
            <a:r>
              <a:rPr lang="nl-NL" sz="2000" dirty="0"/>
              <a:t> on </a:t>
            </a:r>
            <a:r>
              <a:rPr lang="nl-NL" sz="2000" dirty="0" err="1"/>
              <a:t>how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go forward</a:t>
            </a:r>
          </a:p>
          <a:p>
            <a:pPr marL="800100" lvl="2" indent="-342900">
              <a:buFont typeface="Arial" panose="020B0604020202020204" pitchFamily="34" charset="0"/>
              <a:buChar char="•"/>
            </a:pPr>
            <a:r>
              <a:rPr lang="nl-NL" sz="2000" dirty="0" err="1"/>
              <a:t>Inform</a:t>
            </a:r>
            <a:r>
              <a:rPr lang="nl-NL" sz="2000" dirty="0"/>
              <a:t> </a:t>
            </a:r>
            <a:r>
              <a:rPr lang="nl-NL" sz="2000" dirty="0" err="1"/>
              <a:t>contacts</a:t>
            </a:r>
            <a:endParaRPr lang="nl-NL" sz="2000" dirty="0"/>
          </a:p>
          <a:p>
            <a:pPr marL="800100" lvl="2" indent="-342900">
              <a:buFont typeface="Arial" panose="020B0604020202020204" pitchFamily="34" charset="0"/>
              <a:buChar char="•"/>
            </a:pPr>
            <a:r>
              <a:rPr lang="nl-NL" sz="2000" dirty="0"/>
              <a:t>Re-register domain</a:t>
            </a:r>
            <a:br>
              <a:rPr lang="nl-NL" sz="2000" dirty="0"/>
            </a:br>
            <a:endParaRPr lang="nl-NL" sz="2000" dirty="0"/>
          </a:p>
          <a:p>
            <a:r>
              <a:rPr lang="nl-NL" sz="2000" b="1" dirty="0"/>
              <a:t>Alert mod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Direct </a:t>
            </a:r>
            <a:r>
              <a:rPr lang="nl-NL" sz="2000" dirty="0" err="1"/>
              <a:t>to</a:t>
            </a:r>
            <a:r>
              <a:rPr lang="nl-NL" sz="2000" dirty="0"/>
              <a:t> registran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registrar</a:t>
            </a:r>
            <a:r>
              <a:rPr lang="nl-NL" sz="2000" dirty="0"/>
              <a:t>, </a:t>
            </a:r>
            <a:r>
              <a:rPr lang="nl-NL" sz="2000" dirty="0" err="1"/>
              <a:t>which</a:t>
            </a:r>
            <a:r>
              <a:rPr lang="nl-NL" sz="2000" dirty="0"/>
              <a:t> </a:t>
            </a:r>
            <a:r>
              <a:rPr lang="nl-NL" sz="2000" dirty="0" err="1"/>
              <a:t>then</a:t>
            </a:r>
            <a:r>
              <a:rPr lang="nl-NL" sz="2000" dirty="0"/>
              <a:t> forwards </a:t>
            </a:r>
            <a:r>
              <a:rPr lang="nl-NL" sz="2000" dirty="0" err="1"/>
              <a:t>the</a:t>
            </a:r>
            <a:r>
              <a:rPr lang="nl-NL" sz="2000" dirty="0"/>
              <a:t> ale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 err="1"/>
              <a:t>Registrar</a:t>
            </a:r>
            <a:r>
              <a:rPr lang="nl-NL" sz="2000" dirty="0"/>
              <a:t> </a:t>
            </a:r>
            <a:r>
              <a:rPr lang="nl-NL" sz="2000" dirty="0" err="1"/>
              <a:t>opt</a:t>
            </a:r>
            <a:r>
              <a:rPr lang="nl-NL" sz="2000" dirty="0"/>
              <a:t>-out, no alerts are s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 err="1"/>
              <a:t>Weekly</a:t>
            </a:r>
            <a:r>
              <a:rPr lang="nl-NL" sz="2000" dirty="0"/>
              <a:t> summary of </a:t>
            </a:r>
            <a:r>
              <a:rPr lang="nl-NL" sz="2000" dirty="0" err="1"/>
              <a:t>activity</a:t>
            </a:r>
            <a:r>
              <a:rPr lang="nl-NL" sz="2000" dirty="0"/>
              <a:t>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registar</a:t>
            </a:r>
            <a:endParaRPr lang="nl-NL" sz="2000" dirty="0"/>
          </a:p>
          <a:p>
            <a:pPr marL="342900" indent="-342900">
              <a:buFontTx/>
              <a:buChar char="-"/>
            </a:pPr>
            <a:endParaRPr lang="nl-NL" sz="2000" dirty="0"/>
          </a:p>
          <a:p>
            <a:endParaRPr lang="nl-NL" sz="2000" dirty="0"/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41E98312-3620-4365-C0F3-57EF20372845}"/>
              </a:ext>
            </a:extLst>
          </p:cNvPr>
          <p:cNvGrpSpPr/>
          <p:nvPr/>
        </p:nvGrpSpPr>
        <p:grpSpPr>
          <a:xfrm>
            <a:off x="7809580" y="377825"/>
            <a:ext cx="4193508" cy="5799258"/>
            <a:chOff x="7809580" y="377825"/>
            <a:chExt cx="4193508" cy="5799258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8EEE67B1-4418-8983-6495-C385BAA1F0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88238" y="377825"/>
              <a:ext cx="4114850" cy="5522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kstvak 3">
              <a:extLst>
                <a:ext uri="{FF2B5EF4-FFF2-40B4-BE49-F238E27FC236}">
                  <a16:creationId xmlns:a16="http://schemas.microsoft.com/office/drawing/2014/main" id="{1E403356-0F01-C87D-5D93-42399A2F8DF8}"/>
                </a:ext>
              </a:extLst>
            </p:cNvPr>
            <p:cNvSpPr txBox="1"/>
            <p:nvPr/>
          </p:nvSpPr>
          <p:spPr>
            <a:xfrm>
              <a:off x="7809580" y="5900084"/>
              <a:ext cx="173477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solidFill>
                    <a:srgbClr val="656565"/>
                  </a:solidFill>
                </a:rPr>
                <a:t>Example alert messa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9524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12AD6F-C86C-A35B-81DB-487530224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Alerts sent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5F906E47-22CB-4BFE-D6FE-C2E9BA96C9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anchor="t"/>
          <a:lstStyle/>
          <a:p>
            <a:r>
              <a:rPr lang="nl-NL" sz="2000" dirty="0"/>
              <a:t>Running LEMMINGS </a:t>
            </a:r>
            <a:r>
              <a:rPr lang="nl-NL" sz="2000" dirty="0" err="1"/>
              <a:t>for</a:t>
            </a:r>
            <a:r>
              <a:rPr lang="nl-NL" sz="2000" dirty="0"/>
              <a:t> 10-month </a:t>
            </a:r>
            <a:r>
              <a:rPr lang="nl-NL" sz="2000" dirty="0" err="1"/>
              <a:t>period</a:t>
            </a:r>
            <a:endParaRPr lang="nl-NL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>
                <a:effectLst/>
                <a:latin typeface="LinLibertineT"/>
              </a:rPr>
              <a:t>587.778 </a:t>
            </a:r>
            <a:r>
              <a:rPr lang="nl-NL" sz="1800" dirty="0" err="1">
                <a:effectLst/>
                <a:latin typeface="LinLibertineT"/>
              </a:rPr>
              <a:t>domains</a:t>
            </a:r>
            <a:r>
              <a:rPr lang="nl-NL" sz="1800" dirty="0">
                <a:effectLst/>
                <a:latin typeface="LinLibertineT"/>
              </a:rPr>
              <a:t> have been </a:t>
            </a:r>
            <a:r>
              <a:rPr lang="nl-NL" sz="1800" dirty="0" err="1">
                <a:effectLst/>
                <a:latin typeface="LinLibertineT"/>
              </a:rPr>
              <a:t>deleted</a:t>
            </a:r>
            <a:endParaRPr lang="nl-NL" sz="1800" dirty="0">
              <a:effectLst/>
              <a:latin typeface="LinLibertine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>
                <a:latin typeface="LinLibertineT"/>
              </a:rPr>
              <a:t>106 </a:t>
            </a:r>
            <a:r>
              <a:rPr lang="nl-NL" sz="1800" dirty="0" err="1">
                <a:latin typeface="LinLibertineT"/>
              </a:rPr>
              <a:t>million</a:t>
            </a:r>
            <a:r>
              <a:rPr lang="nl-NL" sz="1800" dirty="0">
                <a:latin typeface="LinLibertineT"/>
              </a:rPr>
              <a:t> MX </a:t>
            </a:r>
            <a:r>
              <a:rPr lang="nl-NL" sz="1800" dirty="0" err="1">
                <a:latin typeface="LinLibertineT"/>
              </a:rPr>
              <a:t>queries</a:t>
            </a:r>
            <a:r>
              <a:rPr lang="nl-NL" sz="1800" dirty="0">
                <a:latin typeface="LinLibertineT"/>
              </a:rPr>
              <a:t> </a:t>
            </a:r>
            <a:r>
              <a:rPr lang="nl-NL" sz="1800" dirty="0" err="1">
                <a:latin typeface="LinLibertineT"/>
              </a:rPr>
              <a:t>analysed</a:t>
            </a:r>
            <a:endParaRPr lang="nl-NL" sz="1800" dirty="0">
              <a:latin typeface="LinLibertine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>
                <a:effectLst/>
                <a:latin typeface="LinLibertineT"/>
              </a:rPr>
              <a:t>Filtering </a:t>
            </a:r>
            <a:r>
              <a:rPr lang="nl-NL" sz="1800" dirty="0" err="1">
                <a:effectLst/>
                <a:latin typeface="LinLibertineT"/>
              </a:rPr>
              <a:t>removed</a:t>
            </a:r>
            <a:r>
              <a:rPr lang="nl-NL" sz="1800" dirty="0">
                <a:effectLst/>
                <a:latin typeface="LinLibertineT"/>
              </a:rPr>
              <a:t> 75% of </a:t>
            </a:r>
            <a:r>
              <a:rPr lang="nl-NL" sz="1800" dirty="0">
                <a:latin typeface="LinLibertineT"/>
              </a:rPr>
              <a:t>MX</a:t>
            </a:r>
            <a:r>
              <a:rPr lang="nl-NL" sz="1800" dirty="0">
                <a:effectLst/>
                <a:latin typeface="LinLibertineT"/>
              </a:rPr>
              <a:t> </a:t>
            </a:r>
            <a:r>
              <a:rPr lang="nl-NL" sz="1800" dirty="0" err="1">
                <a:effectLst/>
                <a:latin typeface="LinLibertineT"/>
              </a:rPr>
              <a:t>queries</a:t>
            </a:r>
            <a:endParaRPr lang="nl-NL" sz="1800" dirty="0">
              <a:effectLst/>
              <a:latin typeface="LinLibertineT"/>
            </a:endParaRP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nl-NL" sz="1800" dirty="0" err="1">
                <a:effectLst/>
                <a:latin typeface="LinLibertineT"/>
              </a:rPr>
              <a:t>Average</a:t>
            </a:r>
            <a:r>
              <a:rPr lang="nl-NL" sz="1800" dirty="0">
                <a:effectLst/>
                <a:latin typeface="LinLibertineT"/>
              </a:rPr>
              <a:t> </a:t>
            </a:r>
            <a:r>
              <a:rPr lang="nl-NL" sz="1800" dirty="0" err="1">
                <a:effectLst/>
                <a:latin typeface="LinLibertineT"/>
              </a:rPr>
              <a:t>daily</a:t>
            </a:r>
            <a:r>
              <a:rPr lang="nl-NL" sz="1800" dirty="0">
                <a:effectLst/>
                <a:latin typeface="LinLibertineT"/>
              </a:rPr>
              <a:t> MX </a:t>
            </a:r>
            <a:r>
              <a:rPr lang="nl-NL" sz="1800" dirty="0" err="1">
                <a:effectLst/>
                <a:latin typeface="LinLibertineT"/>
              </a:rPr>
              <a:t>queries</a:t>
            </a:r>
            <a:r>
              <a:rPr lang="nl-NL" sz="1800" dirty="0">
                <a:effectLst/>
                <a:latin typeface="LinLibertineT"/>
              </a:rPr>
              <a:t> </a:t>
            </a:r>
            <a:r>
              <a:rPr lang="nl-NL" sz="1800" dirty="0" err="1">
                <a:effectLst/>
                <a:latin typeface="LinLibertineT"/>
              </a:rPr>
              <a:t>for</a:t>
            </a:r>
            <a:r>
              <a:rPr lang="nl-NL" sz="1800" dirty="0">
                <a:effectLst/>
                <a:latin typeface="LinLibertineT"/>
              </a:rPr>
              <a:t> domain </a:t>
            </a:r>
            <a:r>
              <a:rPr lang="nl-NL" sz="1800" dirty="0" err="1">
                <a:effectLst/>
                <a:latin typeface="LinLibertineT"/>
              </a:rPr>
              <a:t>drops</a:t>
            </a:r>
            <a:r>
              <a:rPr lang="nl-NL" sz="1800" dirty="0">
                <a:effectLst/>
                <a:latin typeface="LinLibertineT"/>
              </a:rPr>
              <a:t> </a:t>
            </a:r>
            <a:r>
              <a:rPr lang="nl-NL" sz="1800" dirty="0" err="1">
                <a:effectLst/>
                <a:latin typeface="LinLibertineT"/>
              </a:rPr>
              <a:t>from</a:t>
            </a:r>
            <a:r>
              <a:rPr lang="nl-NL" sz="1800" dirty="0">
                <a:effectLst/>
                <a:latin typeface="LinLibertineT"/>
              </a:rPr>
              <a:t> 4.7 </a:t>
            </a:r>
            <a:r>
              <a:rPr lang="nl-NL" sz="1800" dirty="0" err="1">
                <a:effectLst/>
                <a:latin typeface="LinLibertineT"/>
              </a:rPr>
              <a:t>to</a:t>
            </a:r>
            <a:r>
              <a:rPr lang="nl-NL" sz="1800" dirty="0">
                <a:effectLst/>
                <a:latin typeface="LinLibertineT"/>
              </a:rPr>
              <a:t> 1.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>
                <a:effectLst/>
                <a:latin typeface="LinLibertineT"/>
              </a:rPr>
              <a:t>54.410 alerts have been sent (9.2%)</a:t>
            </a:r>
          </a:p>
          <a:p>
            <a:endParaRPr lang="nl-NL" sz="1400" dirty="0"/>
          </a:p>
          <a:p>
            <a:endParaRPr lang="nl-NL" sz="2000" dirty="0"/>
          </a:p>
          <a:p>
            <a:endParaRPr lang="nl-NL" sz="2000" dirty="0"/>
          </a:p>
          <a:p>
            <a:endParaRPr lang="nl-NL" sz="2000" dirty="0"/>
          </a:p>
        </p:txBody>
      </p:sp>
      <p:graphicFrame>
        <p:nvGraphicFramePr>
          <p:cNvPr id="4" name="Tabel 4">
            <a:extLst>
              <a:ext uri="{FF2B5EF4-FFF2-40B4-BE49-F238E27FC236}">
                <a16:creationId xmlns:a16="http://schemas.microsoft.com/office/drawing/2014/main" id="{19A2585A-39FF-C954-6D74-907C58C5B4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2040468"/>
              </p:ext>
            </p:extLst>
          </p:nvPr>
        </p:nvGraphicFramePr>
        <p:xfrm>
          <a:off x="750145" y="3952517"/>
          <a:ext cx="5112176" cy="148336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1791459">
                  <a:extLst>
                    <a:ext uri="{9D8B030D-6E8A-4147-A177-3AD203B41FA5}">
                      <a16:colId xmlns:a16="http://schemas.microsoft.com/office/drawing/2014/main" val="724504432"/>
                    </a:ext>
                  </a:extLst>
                </a:gridCol>
                <a:gridCol w="1232034">
                  <a:extLst>
                    <a:ext uri="{9D8B030D-6E8A-4147-A177-3AD203B41FA5}">
                      <a16:colId xmlns:a16="http://schemas.microsoft.com/office/drawing/2014/main" val="2134671652"/>
                    </a:ext>
                  </a:extLst>
                </a:gridCol>
                <a:gridCol w="2088683">
                  <a:extLst>
                    <a:ext uri="{9D8B030D-6E8A-4147-A177-3AD203B41FA5}">
                      <a16:colId xmlns:a16="http://schemas.microsoft.com/office/drawing/2014/main" val="23491316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Risk </a:t>
                      </a:r>
                      <a:r>
                        <a:rPr lang="nl-NL" sz="1600" kern="1200" noProof="0" err="1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category</a:t>
                      </a:r>
                      <a:endParaRPr lang="nl-NL" sz="1600" kern="1200" noProof="0">
                        <a:solidFill>
                          <a:srgbClr val="656565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 dirty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Ale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Percent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76189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44.7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82.1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669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8.0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14.8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1856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4.63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 dirty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8.5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3004672"/>
                  </a:ext>
                </a:extLst>
              </a:tr>
            </a:tbl>
          </a:graphicData>
        </a:graphic>
      </p:graphicFrame>
      <p:grpSp>
        <p:nvGrpSpPr>
          <p:cNvPr id="7" name="Groep 6">
            <a:extLst>
              <a:ext uri="{FF2B5EF4-FFF2-40B4-BE49-F238E27FC236}">
                <a16:creationId xmlns:a16="http://schemas.microsoft.com/office/drawing/2014/main" id="{54838AC5-71DD-90D1-42DD-7E433124A747}"/>
              </a:ext>
            </a:extLst>
          </p:cNvPr>
          <p:cNvGrpSpPr/>
          <p:nvPr/>
        </p:nvGrpSpPr>
        <p:grpSpPr>
          <a:xfrm>
            <a:off x="8085620" y="977751"/>
            <a:ext cx="3524250" cy="3053070"/>
            <a:chOff x="8085620" y="977751"/>
            <a:chExt cx="3524250" cy="3053070"/>
          </a:xfrm>
        </p:grpSpPr>
        <p:pic>
          <p:nvPicPr>
            <p:cNvPr id="5" name="Afbeelding 4">
              <a:extLst>
                <a:ext uri="{FF2B5EF4-FFF2-40B4-BE49-F238E27FC236}">
                  <a16:creationId xmlns:a16="http://schemas.microsoft.com/office/drawing/2014/main" id="{D66AA615-7CE9-EA70-135E-C48300CA3C1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085620" y="977751"/>
              <a:ext cx="3524250" cy="2794000"/>
            </a:xfrm>
            <a:prstGeom prst="rect">
              <a:avLst/>
            </a:prstGeom>
          </p:spPr>
        </p:pic>
        <p:sp>
          <p:nvSpPr>
            <p:cNvPr id="6" name="Tekstvak 5">
              <a:extLst>
                <a:ext uri="{FF2B5EF4-FFF2-40B4-BE49-F238E27FC236}">
                  <a16:creationId xmlns:a16="http://schemas.microsoft.com/office/drawing/2014/main" id="{7A7F3B6A-C4DD-5133-7277-20F583464EC1}"/>
                </a:ext>
              </a:extLst>
            </p:cNvPr>
            <p:cNvSpPr txBox="1"/>
            <p:nvPr/>
          </p:nvSpPr>
          <p:spPr>
            <a:xfrm>
              <a:off x="8381156" y="3753822"/>
              <a:ext cx="322871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1200" dirty="0" err="1">
                  <a:solidFill>
                    <a:srgbClr val="656565"/>
                  </a:solidFill>
                  <a:latin typeface="LinLibertineT"/>
                </a:rPr>
                <a:t>Deleted</a:t>
              </a:r>
              <a:r>
                <a:rPr lang="nl-NL" sz="1200" dirty="0">
                  <a:solidFill>
                    <a:srgbClr val="656565"/>
                  </a:solidFill>
                  <a:latin typeface="LinLibertineT"/>
                </a:rPr>
                <a:t> </a:t>
              </a:r>
              <a:r>
                <a:rPr lang="nl-NL" sz="1200" dirty="0" err="1">
                  <a:solidFill>
                    <a:srgbClr val="656565"/>
                  </a:solidFill>
                  <a:latin typeface="LinLibertineT"/>
                </a:rPr>
                <a:t>and</a:t>
              </a:r>
              <a:r>
                <a:rPr lang="nl-NL" sz="1200" dirty="0">
                  <a:solidFill>
                    <a:srgbClr val="656565"/>
                  </a:solidFill>
                  <a:latin typeface="LinLibertineT"/>
                </a:rPr>
                <a:t> </a:t>
              </a:r>
              <a:r>
                <a:rPr lang="nl-NL" sz="1200" dirty="0" err="1">
                  <a:solidFill>
                    <a:srgbClr val="656565"/>
                  </a:solidFill>
                  <a:latin typeface="LinLibertineT"/>
                </a:rPr>
                <a:t>Alerted</a:t>
              </a:r>
              <a:r>
                <a:rPr lang="nl-NL" sz="1200" dirty="0">
                  <a:solidFill>
                    <a:srgbClr val="656565"/>
                  </a:solidFill>
                  <a:latin typeface="LinLibertineT"/>
                </a:rPr>
                <a:t> </a:t>
              </a:r>
              <a:r>
                <a:rPr lang="nl-NL" sz="1200" dirty="0" err="1">
                  <a:solidFill>
                    <a:srgbClr val="656565"/>
                  </a:solidFill>
                  <a:latin typeface="LinLibertineT"/>
                </a:rPr>
                <a:t>during</a:t>
              </a:r>
              <a:r>
                <a:rPr lang="nl-NL" sz="1200" dirty="0">
                  <a:solidFill>
                    <a:srgbClr val="656565"/>
                  </a:solidFill>
                  <a:latin typeface="LinLibertineT"/>
                </a:rPr>
                <a:t> LEMMINSG </a:t>
              </a:r>
              <a:r>
                <a:rPr lang="nl-NL" sz="1200" dirty="0" err="1">
                  <a:solidFill>
                    <a:srgbClr val="656565"/>
                  </a:solidFill>
                  <a:latin typeface="LinLibertineT"/>
                </a:rPr>
                <a:t>period</a:t>
              </a:r>
              <a:endParaRPr lang="nl-NL" sz="1200" dirty="0">
                <a:solidFill>
                  <a:srgbClr val="656565"/>
                </a:solidFill>
                <a:latin typeface="LinLibertine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513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ACC5F0-CF83-A352-E081-48236E5DC0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MX Query Filters</a:t>
            </a:r>
          </a:p>
        </p:txBody>
      </p:sp>
      <p:graphicFrame>
        <p:nvGraphicFramePr>
          <p:cNvPr id="6" name="Tabel 4">
            <a:extLst>
              <a:ext uri="{FF2B5EF4-FFF2-40B4-BE49-F238E27FC236}">
                <a16:creationId xmlns:a16="http://schemas.microsoft.com/office/drawing/2014/main" id="{07A96B3C-FA85-14C8-EF20-44569D6296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8430195"/>
              </p:ext>
            </p:extLst>
          </p:nvPr>
        </p:nvGraphicFramePr>
        <p:xfrm>
          <a:off x="458927" y="1080135"/>
          <a:ext cx="5212600" cy="502920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1771572">
                  <a:extLst>
                    <a:ext uri="{9D8B030D-6E8A-4147-A177-3AD203B41FA5}">
                      <a16:colId xmlns:a16="http://schemas.microsoft.com/office/drawing/2014/main" val="724504432"/>
                    </a:ext>
                  </a:extLst>
                </a:gridCol>
                <a:gridCol w="1731200">
                  <a:extLst>
                    <a:ext uri="{9D8B030D-6E8A-4147-A177-3AD203B41FA5}">
                      <a16:colId xmlns:a16="http://schemas.microsoft.com/office/drawing/2014/main" val="2134671652"/>
                    </a:ext>
                  </a:extLst>
                </a:gridCol>
                <a:gridCol w="1709828">
                  <a:extLst>
                    <a:ext uri="{9D8B030D-6E8A-4147-A177-3AD203B41FA5}">
                      <a16:colId xmlns:a16="http://schemas.microsoft.com/office/drawing/2014/main" val="23491316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Filter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 err="1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Queries</a:t>
                      </a:r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600" kern="1200" noProof="0" err="1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removed</a:t>
                      </a:r>
                      <a:endParaRPr lang="nl-NL" sz="1600" kern="1200" noProof="0">
                        <a:solidFill>
                          <a:srgbClr val="656565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Percent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76189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ASN</a:t>
                      </a:r>
                      <a:endParaRPr lang="nl-NL" sz="1600" kern="1200" noProof="0">
                        <a:solidFill>
                          <a:srgbClr val="656565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47.177.6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44.4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5669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High </a:t>
                      </a:r>
                      <a:r>
                        <a:rPr lang="nl-NL" sz="1600" kern="1200" err="1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Nxdomain</a:t>
                      </a:r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38.125.28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35.7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430046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Tim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18.675.1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17.6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520455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nl-NL" sz="1600" kern="1200" err="1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Newly</a:t>
                      </a:r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600" kern="1200" err="1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Seen</a:t>
                      </a:r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 IP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16.759.36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15.8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6621247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nl-NL" sz="1600" kern="1200" err="1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Spamhaus</a:t>
                      </a:r>
                      <a:endParaRPr lang="nl-NL" sz="1600" kern="1200">
                        <a:solidFill>
                          <a:srgbClr val="656565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4.228.49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4.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267253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Country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3.733.27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3.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950272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nl-NL" sz="1600" kern="1200" err="1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Resolver</a:t>
                      </a:r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l-NL" sz="1600" kern="1200" err="1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Stability</a:t>
                      </a:r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2.675.13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2.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750343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 IP </a:t>
                      </a:r>
                      <a:r>
                        <a:rPr lang="nl-NL" sz="1600" kern="1200" err="1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Address</a:t>
                      </a:r>
                      <a:endParaRPr lang="nl-NL" sz="1600" kern="1200">
                        <a:solidFill>
                          <a:srgbClr val="656565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2.552.35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2.4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458288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Open Resolv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742.6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0.7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270848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No Mai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731.99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0.7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282844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Sinkhol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14.16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0.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556874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APWG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1.65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nl-NL" sz="1600" kern="120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0.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53412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1004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583D05-4F23-C7E3-966F-21724CA4FD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How </a:t>
            </a:r>
            <a:r>
              <a:rPr lang="nl-NL" dirty="0" err="1"/>
              <a:t>Effective</a:t>
            </a:r>
            <a:r>
              <a:rPr lang="nl-NL" dirty="0"/>
              <a:t> is LEMMINGS?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CFB3D0A1-9FF5-81BA-B192-BD9FB93E1E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anchor="t"/>
          <a:lstStyle/>
          <a:p>
            <a:r>
              <a:rPr lang="nl-NL" dirty="0"/>
              <a:t>Impossibl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directly</a:t>
            </a:r>
            <a:r>
              <a:rPr lang="nl-NL" dirty="0"/>
              <a:t> </a:t>
            </a:r>
            <a:r>
              <a:rPr lang="nl-NL" dirty="0" err="1"/>
              <a:t>measure</a:t>
            </a:r>
            <a:r>
              <a:rPr lang="nl-NL" dirty="0"/>
              <a:t> </a:t>
            </a:r>
            <a:r>
              <a:rPr lang="nl-NL" dirty="0" err="1"/>
              <a:t>prevented</a:t>
            </a:r>
            <a:r>
              <a:rPr lang="nl-NL" dirty="0"/>
              <a:t> data </a:t>
            </a:r>
            <a:r>
              <a:rPr lang="nl-NL" dirty="0" err="1"/>
              <a:t>leaks</a:t>
            </a:r>
            <a:endParaRPr lang="nl-NL" dirty="0"/>
          </a:p>
          <a:p>
            <a:r>
              <a:rPr lang="nl-NL" sz="1800" dirty="0">
                <a:latin typeface="LinLibertineT"/>
              </a:rPr>
              <a:t>We </a:t>
            </a:r>
            <a:r>
              <a:rPr lang="nl-NL" sz="1800" dirty="0" err="1">
                <a:effectLst/>
                <a:latin typeface="LinLibertineT"/>
              </a:rPr>
              <a:t>use</a:t>
            </a:r>
            <a:r>
              <a:rPr lang="nl-NL" sz="1800" dirty="0">
                <a:effectLst/>
                <a:latin typeface="LinLibertineT"/>
              </a:rPr>
              <a:t> </a:t>
            </a:r>
            <a:r>
              <a:rPr lang="nl-NL" sz="1800" dirty="0" err="1">
                <a:effectLst/>
                <a:latin typeface="LinLibertineT"/>
              </a:rPr>
              <a:t>the</a:t>
            </a:r>
            <a:r>
              <a:rPr lang="nl-NL" sz="1800" dirty="0">
                <a:effectLst/>
                <a:latin typeface="LinLibertineT"/>
              </a:rPr>
              <a:t> </a:t>
            </a:r>
            <a:r>
              <a:rPr lang="nl-NL" sz="1800" dirty="0" err="1">
                <a:effectLst/>
                <a:latin typeface="LinLibertineT"/>
              </a:rPr>
              <a:t>increased</a:t>
            </a:r>
            <a:r>
              <a:rPr lang="nl-NL" sz="1800" dirty="0">
                <a:effectLst/>
                <a:latin typeface="LinLibertineT"/>
              </a:rPr>
              <a:t> </a:t>
            </a:r>
            <a:r>
              <a:rPr lang="nl-NL" sz="1800" dirty="0" err="1">
                <a:effectLst/>
                <a:latin typeface="LinLibertineT"/>
              </a:rPr>
              <a:t>usage</a:t>
            </a:r>
            <a:r>
              <a:rPr lang="nl-NL" sz="1800" dirty="0">
                <a:effectLst/>
                <a:latin typeface="LinLibertineT"/>
              </a:rPr>
              <a:t> of </a:t>
            </a:r>
            <a:r>
              <a:rPr lang="nl-NL" sz="1800" dirty="0" err="1">
                <a:effectLst/>
                <a:latin typeface="LinLibertineT"/>
              </a:rPr>
              <a:t>the</a:t>
            </a:r>
            <a:r>
              <a:rPr lang="nl-NL" sz="1800" dirty="0">
                <a:effectLst/>
                <a:latin typeface="LinLibertineT"/>
              </a:rPr>
              <a:t> </a:t>
            </a:r>
            <a:r>
              <a:rPr lang="nl-NL" sz="1800" dirty="0" err="1">
                <a:effectLst/>
                <a:latin typeface="LinLibertineT"/>
              </a:rPr>
              <a:t>registry</a:t>
            </a:r>
            <a:r>
              <a:rPr lang="nl-NL" sz="1800" dirty="0">
                <a:effectLst/>
                <a:latin typeface="LinLibertineT"/>
              </a:rPr>
              <a:t> cancel-delete </a:t>
            </a:r>
            <a:r>
              <a:rPr lang="nl-NL" sz="1800" dirty="0" err="1">
                <a:effectLst/>
                <a:latin typeface="LinLibertineT"/>
              </a:rPr>
              <a:t>request</a:t>
            </a:r>
            <a:r>
              <a:rPr lang="nl-NL" sz="1800" dirty="0">
                <a:effectLst/>
                <a:latin typeface="LinLibertineT"/>
              </a:rPr>
              <a:t> as a proxy </a:t>
            </a:r>
            <a:r>
              <a:rPr lang="nl-NL" sz="1800" dirty="0" err="1">
                <a:effectLst/>
                <a:latin typeface="LinLibertineT"/>
              </a:rPr>
              <a:t>for</a:t>
            </a:r>
            <a:r>
              <a:rPr lang="nl-NL" sz="1800" dirty="0">
                <a:effectLst/>
                <a:latin typeface="LinLibertineT"/>
              </a:rPr>
              <a:t> </a:t>
            </a:r>
            <a:r>
              <a:rPr lang="nl-NL" sz="1800" dirty="0" err="1">
                <a:effectLst/>
                <a:latin typeface="LinLibertineT"/>
              </a:rPr>
              <a:t>preventing</a:t>
            </a:r>
            <a:r>
              <a:rPr lang="nl-NL" sz="1800" dirty="0">
                <a:effectLst/>
                <a:latin typeface="LinLibertineT"/>
              </a:rPr>
              <a:t> </a:t>
            </a:r>
            <a:r>
              <a:rPr lang="nl-NL" sz="1800" dirty="0" err="1">
                <a:effectLst/>
                <a:latin typeface="LinLibertineT"/>
              </a:rPr>
              <a:t>potential</a:t>
            </a:r>
            <a:r>
              <a:rPr lang="nl-NL" sz="1800" dirty="0">
                <a:effectLst/>
                <a:latin typeface="LinLibertineT"/>
              </a:rPr>
              <a:t> data </a:t>
            </a:r>
            <a:r>
              <a:rPr lang="nl-NL" sz="1800" dirty="0" err="1">
                <a:effectLst/>
                <a:latin typeface="LinLibertineT"/>
              </a:rPr>
              <a:t>leaks</a:t>
            </a:r>
            <a:r>
              <a:rPr lang="nl-NL" sz="1800" dirty="0">
                <a:effectLst/>
                <a:latin typeface="LinLibertineT"/>
              </a:rPr>
              <a:t> </a:t>
            </a:r>
          </a:p>
          <a:p>
            <a:endParaRPr lang="nl-NL" sz="1800" dirty="0">
              <a:latin typeface="LinLibertine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 err="1">
                <a:latin typeface="LinLibertineT"/>
              </a:rPr>
              <a:t>Calculated</a:t>
            </a:r>
            <a:r>
              <a:rPr lang="nl-NL" sz="1800" dirty="0">
                <a:latin typeface="LinLibertineT"/>
              </a:rPr>
              <a:t> cancel-delete </a:t>
            </a:r>
            <a:r>
              <a:rPr lang="nl-NL" sz="1800" dirty="0" err="1">
                <a:latin typeface="LinLibertineT"/>
              </a:rPr>
              <a:t>request</a:t>
            </a:r>
            <a:r>
              <a:rPr lang="nl-NL" sz="1800" dirty="0">
                <a:latin typeface="LinLibertineT"/>
              </a:rPr>
              <a:t> baseline for the 12-month </a:t>
            </a:r>
            <a:r>
              <a:rPr lang="nl-NL" sz="1800" dirty="0" err="1">
                <a:latin typeface="LinLibertineT"/>
              </a:rPr>
              <a:t>period</a:t>
            </a:r>
            <a:r>
              <a:rPr lang="nl-NL" sz="1800" dirty="0">
                <a:latin typeface="LinLibertineT"/>
              </a:rPr>
              <a:t> </a:t>
            </a:r>
            <a:r>
              <a:rPr lang="nl-NL" sz="1800" dirty="0" err="1">
                <a:latin typeface="LinLibertineT"/>
              </a:rPr>
              <a:t>before</a:t>
            </a:r>
            <a:r>
              <a:rPr lang="nl-NL" sz="1800" dirty="0">
                <a:latin typeface="LinLibertineT"/>
              </a:rPr>
              <a:t> using LEMMINGS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nl-NL" sz="1800" dirty="0">
                <a:latin typeface="LinLibertineT"/>
              </a:rPr>
              <a:t>0.13% over </a:t>
            </a:r>
            <a:r>
              <a:rPr lang="nl-NL" sz="1800" dirty="0">
                <a:effectLst/>
                <a:latin typeface="LinLibertineT"/>
              </a:rPr>
              <a:t>627.285 </a:t>
            </a:r>
            <a:r>
              <a:rPr lang="nl-NL" sz="1800" dirty="0" err="1">
                <a:effectLst/>
                <a:latin typeface="LinLibertineT"/>
              </a:rPr>
              <a:t>domains</a:t>
            </a:r>
            <a:endParaRPr lang="nl-NL" sz="1800" dirty="0">
              <a:latin typeface="LinLibertine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 err="1">
                <a:latin typeface="LinLibertineT"/>
              </a:rPr>
              <a:t>Compared</a:t>
            </a:r>
            <a:r>
              <a:rPr lang="nl-NL" sz="1800" dirty="0">
                <a:latin typeface="LinLibertineT"/>
              </a:rPr>
              <a:t> to cancel-delete ratio </a:t>
            </a:r>
            <a:r>
              <a:rPr lang="nl-NL" sz="1800" dirty="0" err="1">
                <a:latin typeface="LinLibertineT"/>
              </a:rPr>
              <a:t>seen</a:t>
            </a:r>
            <a:r>
              <a:rPr lang="nl-NL" sz="1800" dirty="0">
                <a:latin typeface="LinLibertineT"/>
              </a:rPr>
              <a:t> </a:t>
            </a:r>
            <a:r>
              <a:rPr lang="nl-NL" sz="1800" dirty="0" err="1">
                <a:latin typeface="LinLibertineT"/>
              </a:rPr>
              <a:t>during</a:t>
            </a:r>
            <a:r>
              <a:rPr lang="nl-NL" sz="1800" dirty="0">
                <a:latin typeface="LinLibertineT"/>
              </a:rPr>
              <a:t> LEMMINGS </a:t>
            </a:r>
            <a:r>
              <a:rPr lang="nl-NL" sz="1800" dirty="0" err="1">
                <a:latin typeface="LinLibertineT"/>
              </a:rPr>
              <a:t>period</a:t>
            </a:r>
            <a:endParaRPr lang="nl-NL" sz="1800" dirty="0">
              <a:latin typeface="LinLibertineT"/>
            </a:endParaRPr>
          </a:p>
          <a:p>
            <a:pPr marL="285750" indent="-285750">
              <a:buFontTx/>
              <a:buChar char="-"/>
            </a:pPr>
            <a:endParaRPr lang="nl-NL" sz="1800" dirty="0">
              <a:latin typeface="LinLibertineT"/>
            </a:endParaRPr>
          </a:p>
          <a:p>
            <a:pPr marL="285750" indent="-285750">
              <a:buFontTx/>
              <a:buChar char="-"/>
            </a:pPr>
            <a:endParaRPr lang="nl-NL" sz="1800" dirty="0">
              <a:latin typeface="LinLibertineT"/>
            </a:endParaRPr>
          </a:p>
          <a:p>
            <a:endParaRPr lang="nl-NL" dirty="0"/>
          </a:p>
          <a:p>
            <a:endParaRPr lang="nl-NL" dirty="0"/>
          </a:p>
        </p:txBody>
      </p:sp>
      <p:graphicFrame>
        <p:nvGraphicFramePr>
          <p:cNvPr id="4" name="Tabel 4">
            <a:extLst>
              <a:ext uri="{FF2B5EF4-FFF2-40B4-BE49-F238E27FC236}">
                <a16:creationId xmlns:a16="http://schemas.microsoft.com/office/drawing/2014/main" id="{65455C44-10A5-D84D-57AA-B30B33296C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967122"/>
              </p:ext>
            </p:extLst>
          </p:nvPr>
        </p:nvGraphicFramePr>
        <p:xfrm>
          <a:off x="458926" y="4174334"/>
          <a:ext cx="6922428" cy="148336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1771572">
                  <a:extLst>
                    <a:ext uri="{9D8B030D-6E8A-4147-A177-3AD203B41FA5}">
                      <a16:colId xmlns:a16="http://schemas.microsoft.com/office/drawing/2014/main" val="724504432"/>
                    </a:ext>
                  </a:extLst>
                </a:gridCol>
                <a:gridCol w="1731200">
                  <a:extLst>
                    <a:ext uri="{9D8B030D-6E8A-4147-A177-3AD203B41FA5}">
                      <a16:colId xmlns:a16="http://schemas.microsoft.com/office/drawing/2014/main" val="2134671652"/>
                    </a:ext>
                  </a:extLst>
                </a:gridCol>
                <a:gridCol w="1709828">
                  <a:extLst>
                    <a:ext uri="{9D8B030D-6E8A-4147-A177-3AD203B41FA5}">
                      <a16:colId xmlns:a16="http://schemas.microsoft.com/office/drawing/2014/main" val="2349131683"/>
                    </a:ext>
                  </a:extLst>
                </a:gridCol>
                <a:gridCol w="1709828">
                  <a:extLst>
                    <a:ext uri="{9D8B030D-6E8A-4147-A177-3AD203B41FA5}">
                      <a16:colId xmlns:a16="http://schemas.microsoft.com/office/drawing/2014/main" val="42653692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Risk </a:t>
                      </a:r>
                      <a:r>
                        <a:rPr lang="nl-NL" sz="1600" kern="1200" noProof="0" err="1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category</a:t>
                      </a:r>
                      <a:endParaRPr lang="nl-NL" sz="1600" kern="1200" noProof="0">
                        <a:solidFill>
                          <a:srgbClr val="656565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Cancel-dele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Percen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 err="1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Increase</a:t>
                      </a:r>
                      <a:endParaRPr lang="nl-NL" sz="1600" kern="1200" noProof="0">
                        <a:solidFill>
                          <a:srgbClr val="656565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76189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2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 dirty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0.5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 dirty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4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669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0.8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6.5x</a:t>
                      </a:r>
                      <a:endParaRPr lang="nl-NL" sz="1600" kern="1200" noProof="0" dirty="0">
                        <a:solidFill>
                          <a:srgbClr val="656565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1856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600" kern="1200" noProof="0" dirty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1.0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kern="1200" noProof="0" dirty="0">
                          <a:solidFill>
                            <a:srgbClr val="656565"/>
                          </a:solidFill>
                          <a:latin typeface="+mn-lt"/>
                          <a:ea typeface="+mn-ea"/>
                          <a:cs typeface="+mn-cs"/>
                        </a:rPr>
                        <a:t>8.3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30046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521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E2B211-60F8-387C-51C0-6AF1B8590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gistrant Survey (1)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E7505CE2-E2D5-AE21-AAC9-AE515E0EF0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927" y="1678214"/>
            <a:ext cx="9807485" cy="2675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1795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E2B211-60F8-387C-51C0-6AF1B8590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gistrant  Survey (2)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BC0A81DB-F409-D026-856E-84AE7A5FD9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927" y="1650607"/>
            <a:ext cx="9807484" cy="2675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1673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831CE5-DF5B-6E75-49E4-AACA96BA2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err="1"/>
              <a:t>Future</a:t>
            </a:r>
            <a:r>
              <a:rPr lang="nl-NL"/>
              <a:t> </a:t>
            </a:r>
            <a:r>
              <a:rPr lang="nl-NL" err="1"/>
              <a:t>Work</a:t>
            </a:r>
            <a:r>
              <a:rPr lang="nl-NL"/>
              <a:t>?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9FC34A7-03D5-ABD6-C52B-F6DF83B4B7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anchor="t"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dirty="0"/>
              <a:t>Impact of </a:t>
            </a:r>
            <a:r>
              <a:rPr lang="nl-NL" dirty="0" err="1"/>
              <a:t>Qname</a:t>
            </a:r>
            <a:r>
              <a:rPr lang="nl-NL" dirty="0"/>
              <a:t> </a:t>
            </a:r>
            <a:r>
              <a:rPr lang="nl-NL" dirty="0" err="1"/>
              <a:t>Minimisation</a:t>
            </a:r>
            <a:endParaRPr lang="nl-NL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dirty="0" err="1"/>
              <a:t>Improve</a:t>
            </a:r>
            <a:r>
              <a:rPr lang="nl-NL" dirty="0"/>
              <a:t> DNS filters (ML?)</a:t>
            </a:r>
          </a:p>
          <a:p>
            <a:endParaRPr lang="nl-NL" dirty="0"/>
          </a:p>
          <a:p>
            <a:pPr marL="457200" indent="-457200">
              <a:buFontTx/>
              <a:buChar char="-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52651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687E08-0210-95C4-8455-79114B7D85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err="1"/>
              <a:t>Conclusion</a:t>
            </a:r>
            <a:endParaRPr lang="nl-NL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748DE116-E95F-E601-5127-E553956667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anchor="t"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400" dirty="0" err="1"/>
              <a:t>Difficult</a:t>
            </a:r>
            <a:r>
              <a:rPr lang="nl-NL" sz="2400" dirty="0"/>
              <a:t>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measure</a:t>
            </a:r>
            <a:r>
              <a:rPr lang="nl-NL" sz="2400" dirty="0"/>
              <a:t> </a:t>
            </a:r>
            <a:r>
              <a:rPr lang="nl-NL" sz="2400" dirty="0" err="1"/>
              <a:t>the</a:t>
            </a:r>
            <a:r>
              <a:rPr lang="nl-NL" sz="2400" dirty="0"/>
              <a:t> effect of LEMMING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2400" dirty="0" err="1"/>
              <a:t>Reaction</a:t>
            </a:r>
            <a:r>
              <a:rPr lang="nl-NL" sz="2400" dirty="0"/>
              <a:t> (</a:t>
            </a:r>
            <a:r>
              <a:rPr lang="nl-NL" sz="2400" dirty="0" err="1"/>
              <a:t>mostly</a:t>
            </a:r>
            <a:r>
              <a:rPr lang="nl-NL" sz="2400" dirty="0"/>
              <a:t>) </a:t>
            </a:r>
            <a:r>
              <a:rPr lang="nl-NL" sz="2400" dirty="0" err="1"/>
              <a:t>positive</a:t>
            </a:r>
            <a:endParaRPr lang="nl-NL" sz="2400" dirty="0"/>
          </a:p>
          <a:p>
            <a:pPr marL="914400" lvl="2">
              <a:buFont typeface="Arial" panose="020B0604020202020204" pitchFamily="34" charset="0"/>
              <a:buChar char="•"/>
            </a:pPr>
            <a:r>
              <a:rPr lang="nl-NL" sz="2000" dirty="0"/>
              <a:t>Low </a:t>
            </a:r>
            <a:r>
              <a:rPr lang="nl-NL" sz="2000" dirty="0" err="1"/>
              <a:t>number</a:t>
            </a:r>
            <a:r>
              <a:rPr lang="nl-NL" sz="2000" dirty="0"/>
              <a:t> of registrant/</a:t>
            </a:r>
            <a:r>
              <a:rPr lang="nl-NL" sz="2000" dirty="0" err="1"/>
              <a:t>registrar</a:t>
            </a:r>
            <a:r>
              <a:rPr lang="nl-NL" sz="2000" dirty="0"/>
              <a:t> </a:t>
            </a:r>
            <a:r>
              <a:rPr lang="nl-NL" sz="2000" dirty="0" err="1"/>
              <a:t>complains</a:t>
            </a:r>
            <a:r>
              <a:rPr lang="nl-NL" sz="2000" dirty="0"/>
              <a:t> </a:t>
            </a:r>
            <a:r>
              <a:rPr lang="nl-NL" sz="2000" dirty="0" err="1"/>
              <a:t>about</a:t>
            </a:r>
            <a:r>
              <a:rPr lang="nl-NL" sz="2000" dirty="0"/>
              <a:t> </a:t>
            </a:r>
            <a:r>
              <a:rPr lang="nl-NL" sz="2000" dirty="0" err="1"/>
              <a:t>the</a:t>
            </a:r>
            <a:r>
              <a:rPr lang="nl-NL" sz="2000" dirty="0"/>
              <a:t> alerts</a:t>
            </a:r>
          </a:p>
          <a:p>
            <a:pPr marL="914400" lvl="2">
              <a:buFont typeface="Arial" panose="020B0604020202020204" pitchFamily="34" charset="0"/>
              <a:buChar char="•"/>
            </a:pPr>
            <a:r>
              <a:rPr lang="nl-NL" sz="2000" dirty="0" err="1"/>
              <a:t>Positive</a:t>
            </a:r>
            <a:r>
              <a:rPr lang="nl-NL" sz="2000" dirty="0"/>
              <a:t> response Dutch internet community</a:t>
            </a:r>
          </a:p>
          <a:p>
            <a:pPr lvl="2" indent="0">
              <a:buNone/>
            </a:pPr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26236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10125" y="2034552"/>
            <a:ext cx="6922949" cy="1548650"/>
          </a:xfrm>
        </p:spPr>
        <p:txBody>
          <a:bodyPr/>
          <a:lstStyle/>
          <a:p>
            <a:r>
              <a:rPr lang="nl-NL" sz="4000" err="1"/>
              <a:t>Questions</a:t>
            </a:r>
            <a:r>
              <a:rPr lang="nl-NL" sz="4000"/>
              <a:t>?</a:t>
            </a:r>
          </a:p>
        </p:txBody>
      </p:sp>
      <p:grpSp>
        <p:nvGrpSpPr>
          <p:cNvPr id="36" name="Groep 35"/>
          <p:cNvGrpSpPr/>
          <p:nvPr/>
        </p:nvGrpSpPr>
        <p:grpSpPr>
          <a:xfrm>
            <a:off x="1281480" y="1994713"/>
            <a:ext cx="866968" cy="1959979"/>
            <a:chOff x="1063423" y="-31421"/>
            <a:chExt cx="2335511" cy="5279954"/>
          </a:xfrm>
        </p:grpSpPr>
        <p:sp>
          <p:nvSpPr>
            <p:cNvPr id="37" name="Freeform 308"/>
            <p:cNvSpPr>
              <a:spLocks/>
            </p:cNvSpPr>
            <p:nvPr/>
          </p:nvSpPr>
          <p:spPr bwMode="auto">
            <a:xfrm>
              <a:off x="2476022" y="2894257"/>
              <a:ext cx="922912" cy="922911"/>
            </a:xfrm>
            <a:prstGeom prst="rect">
              <a:avLst/>
            </a:prstGeom>
            <a:noFill/>
            <a:ln w="0">
              <a:noFill/>
              <a:prstDash val="solid"/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nl-NL" sz="2400">
                  <a:solidFill>
                    <a:schemeClr val="bg1">
                      <a:lumMod val="50000"/>
                    </a:schemeClr>
                  </a:solidFill>
                </a:rPr>
                <a:t>@SIDN</a:t>
              </a:r>
            </a:p>
          </p:txBody>
        </p:sp>
        <p:sp>
          <p:nvSpPr>
            <p:cNvPr id="38" name="Freeform 308"/>
            <p:cNvSpPr>
              <a:spLocks/>
            </p:cNvSpPr>
            <p:nvPr/>
          </p:nvSpPr>
          <p:spPr bwMode="auto">
            <a:xfrm>
              <a:off x="2476022" y="4325622"/>
              <a:ext cx="922912" cy="922911"/>
            </a:xfrm>
            <a:prstGeom prst="rect">
              <a:avLst/>
            </a:prstGeom>
            <a:noFill/>
            <a:ln w="0">
              <a:noFill/>
              <a:prstDash val="solid"/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nl-NL" sz="2400">
                  <a:solidFill>
                    <a:schemeClr val="bg1">
                      <a:lumMod val="50000"/>
                    </a:schemeClr>
                  </a:solidFill>
                </a:rPr>
                <a:t>SIDN</a:t>
              </a:r>
            </a:p>
          </p:txBody>
        </p:sp>
        <p:sp>
          <p:nvSpPr>
            <p:cNvPr id="40" name="Freeform 308"/>
            <p:cNvSpPr>
              <a:spLocks/>
            </p:cNvSpPr>
            <p:nvPr/>
          </p:nvSpPr>
          <p:spPr bwMode="auto">
            <a:xfrm>
              <a:off x="2476022" y="1462895"/>
              <a:ext cx="922912" cy="922911"/>
            </a:xfrm>
            <a:prstGeom prst="rect">
              <a:avLst/>
            </a:prstGeom>
            <a:noFill/>
            <a:ln w="0">
              <a:noFill/>
              <a:prstDash val="solid"/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NL" sz="2400">
                  <a:solidFill>
                    <a:schemeClr val="bg1">
                      <a:lumMod val="50000"/>
                    </a:schemeClr>
                  </a:solidFill>
                </a:rPr>
                <a:t>SIDN.nl</a:t>
              </a:r>
            </a:p>
          </p:txBody>
        </p:sp>
        <p:sp>
          <p:nvSpPr>
            <p:cNvPr id="41" name="Freeform 308"/>
            <p:cNvSpPr>
              <a:spLocks/>
            </p:cNvSpPr>
            <p:nvPr/>
          </p:nvSpPr>
          <p:spPr bwMode="auto">
            <a:xfrm>
              <a:off x="1063423" y="-31421"/>
              <a:ext cx="922911" cy="922911"/>
            </a:xfrm>
            <a:prstGeom prst="rect">
              <a:avLst/>
            </a:prstGeom>
            <a:noFill/>
            <a:ln w="0">
              <a:noFill/>
              <a:prstDash val="solid"/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 sz="2400" i="1" dirty="0">
                <a:solidFill>
                  <a:srgbClr val="5E6162"/>
                </a:solidFill>
              </a:endParaRPr>
            </a:p>
          </p:txBody>
        </p:sp>
      </p:grpSp>
      <p:pic>
        <p:nvPicPr>
          <p:cNvPr id="42" name="Afbeelding 4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475" y="2413770"/>
            <a:ext cx="682753" cy="1733358"/>
          </a:xfrm>
          <a:prstGeom prst="rect">
            <a:avLst/>
          </a:prstGeom>
        </p:spPr>
      </p:pic>
      <p:sp>
        <p:nvSpPr>
          <p:cNvPr id="11" name="Titel 1"/>
          <p:cNvSpPr txBox="1">
            <a:spLocks/>
          </p:cNvSpPr>
          <p:nvPr/>
        </p:nvSpPr>
        <p:spPr>
          <a:xfrm>
            <a:off x="4810125" y="3545148"/>
            <a:ext cx="6922949" cy="868356"/>
          </a:xfrm>
          <a:prstGeom prst="rect">
            <a:avLst/>
          </a:prstGeom>
        </p:spPr>
        <p:txBody>
          <a:bodyPr vert="horz" lIns="0" tIns="108000" rIns="108000" bIns="1080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2200"/>
              <a:t>www.sidnlabs.nl | stats.sidnlabs.nl</a:t>
            </a:r>
          </a:p>
        </p:txBody>
      </p:sp>
    </p:spTree>
    <p:extLst>
      <p:ext uri="{BB962C8B-B14F-4D97-AF65-F5344CB8AC3E}">
        <p14:creationId xmlns:p14="http://schemas.microsoft.com/office/powerpoint/2010/main" val="2291180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he (</a:t>
            </a:r>
            <a:r>
              <a:rPr lang="nl-NL" err="1"/>
              <a:t>old</a:t>
            </a:r>
            <a:r>
              <a:rPr lang="nl-NL"/>
              <a:t>) </a:t>
            </a:r>
            <a:r>
              <a:rPr lang="nl-NL" err="1"/>
              <a:t>Problem</a:t>
            </a:r>
            <a:r>
              <a:rPr lang="nl-NL"/>
              <a:t> </a:t>
            </a:r>
            <a:endParaRPr lang="nl-NL" sz="1200"/>
          </a:p>
        </p:txBody>
      </p:sp>
      <p:sp>
        <p:nvSpPr>
          <p:cNvPr id="5" name="Tijdelijke aanduiding voor verticale tekst 4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lvl="2"/>
            <a:endParaRPr lang="nl-NL" dirty="0"/>
          </a:p>
          <a:p>
            <a:pPr lvl="2"/>
            <a:endParaRPr lang="nl-NL" dirty="0"/>
          </a:p>
          <a:p>
            <a:pPr lvl="2"/>
            <a:endParaRPr lang="nl-NL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06556EDF-3BBD-ADB6-A3B4-1B018D8462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926" y="1802742"/>
            <a:ext cx="4200126" cy="406056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3CEA7857-F167-4FF6-2E08-F274DDDCCF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2412" y="1800087"/>
            <a:ext cx="5862320" cy="406322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6" name="Tekstvak 5">
            <a:extLst>
              <a:ext uri="{FF2B5EF4-FFF2-40B4-BE49-F238E27FC236}">
                <a16:creationId xmlns:a16="http://schemas.microsoft.com/office/drawing/2014/main" id="{0F051F10-9BB0-E84F-A232-46C8D1320403}"/>
              </a:ext>
            </a:extLst>
          </p:cNvPr>
          <p:cNvSpPr txBox="1"/>
          <p:nvPr/>
        </p:nvSpPr>
        <p:spPr>
          <a:xfrm>
            <a:off x="347414" y="918105"/>
            <a:ext cx="619432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000" dirty="0">
                <a:solidFill>
                  <a:srgbClr val="656565"/>
                </a:solidFill>
              </a:rPr>
              <a:t>A </a:t>
            </a:r>
            <a:r>
              <a:rPr lang="nl-NL" sz="2000" dirty="0" err="1">
                <a:solidFill>
                  <a:srgbClr val="656565"/>
                </a:solidFill>
              </a:rPr>
              <a:t>deleted</a:t>
            </a:r>
            <a:r>
              <a:rPr lang="nl-NL" sz="2000" dirty="0">
                <a:solidFill>
                  <a:srgbClr val="656565"/>
                </a:solidFill>
              </a:rPr>
              <a:t> domain </a:t>
            </a:r>
            <a:r>
              <a:rPr lang="nl-NL" sz="2000" dirty="0" err="1">
                <a:solidFill>
                  <a:srgbClr val="656565"/>
                </a:solidFill>
              </a:rPr>
              <a:t>may</a:t>
            </a:r>
            <a:r>
              <a:rPr lang="nl-NL" sz="2000" dirty="0">
                <a:solidFill>
                  <a:srgbClr val="656565"/>
                </a:solidFill>
              </a:rPr>
              <a:t> lead </a:t>
            </a:r>
            <a:r>
              <a:rPr lang="nl-NL" sz="2000" dirty="0" err="1">
                <a:solidFill>
                  <a:srgbClr val="656565"/>
                </a:solidFill>
              </a:rPr>
              <a:t>to</a:t>
            </a:r>
            <a:r>
              <a:rPr lang="nl-NL" sz="2000" dirty="0">
                <a:solidFill>
                  <a:srgbClr val="656565"/>
                </a:solidFill>
              </a:rPr>
              <a:t> </a:t>
            </a:r>
            <a:r>
              <a:rPr lang="nl-NL" sz="2000" dirty="0" err="1">
                <a:solidFill>
                  <a:srgbClr val="656565"/>
                </a:solidFill>
              </a:rPr>
              <a:t>an</a:t>
            </a:r>
            <a:r>
              <a:rPr lang="nl-NL" sz="2000" dirty="0">
                <a:solidFill>
                  <a:srgbClr val="656565"/>
                </a:solidFill>
              </a:rPr>
              <a:t> </a:t>
            </a:r>
            <a:r>
              <a:rPr lang="nl-NL" sz="2000" dirty="0" err="1">
                <a:solidFill>
                  <a:srgbClr val="656565"/>
                </a:solidFill>
              </a:rPr>
              <a:t>accidental</a:t>
            </a:r>
            <a:r>
              <a:rPr lang="nl-NL" sz="2000" dirty="0">
                <a:solidFill>
                  <a:srgbClr val="656565"/>
                </a:solidFill>
              </a:rPr>
              <a:t> data </a:t>
            </a:r>
            <a:r>
              <a:rPr lang="nl-NL" sz="2000" dirty="0" err="1">
                <a:solidFill>
                  <a:srgbClr val="656565"/>
                </a:solidFill>
              </a:rPr>
              <a:t>leak</a:t>
            </a:r>
            <a:endParaRPr lang="nl-NL" sz="2000" dirty="0">
              <a:solidFill>
                <a:srgbClr val="656565"/>
              </a:solidFill>
            </a:endParaRPr>
          </a:p>
          <a:p>
            <a:endParaRPr lang="nl-NL" sz="2000" dirty="0">
              <a:solidFill>
                <a:srgbClr val="6565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394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BA5D5D-F5A8-8345-8EA9-9C5B996B9D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Goal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AABFC4BE-FC31-2B4C-ADBB-30C3C3B744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anchor="t"/>
          <a:lstStyle/>
          <a:p>
            <a:r>
              <a:rPr lang="nl-NL" sz="2000" dirty="0"/>
              <a:t> </a:t>
            </a:r>
            <a:r>
              <a:rPr lang="nl-NL" sz="2000" dirty="0" err="1"/>
              <a:t>Warn</a:t>
            </a:r>
            <a:r>
              <a:rPr lang="nl-NL" sz="2000" dirty="0"/>
              <a:t> </a:t>
            </a:r>
            <a:r>
              <a:rPr lang="nl-NL" sz="2000" dirty="0" err="1"/>
              <a:t>registrants</a:t>
            </a:r>
            <a:r>
              <a:rPr lang="nl-NL" sz="2000" dirty="0"/>
              <a:t> </a:t>
            </a:r>
            <a:r>
              <a:rPr lang="nl-NL" sz="2000" dirty="0" err="1"/>
              <a:t>about</a:t>
            </a:r>
            <a:r>
              <a:rPr lang="nl-NL" sz="2000" dirty="0"/>
              <a:t> of </a:t>
            </a:r>
            <a:r>
              <a:rPr lang="nl-NL" sz="2000" dirty="0" err="1"/>
              <a:t>the</a:t>
            </a:r>
            <a:r>
              <a:rPr lang="nl-NL" sz="2000" dirty="0"/>
              <a:t> </a:t>
            </a:r>
            <a:r>
              <a:rPr lang="nl-NL" sz="2000" dirty="0" err="1"/>
              <a:t>potential</a:t>
            </a:r>
            <a:r>
              <a:rPr lang="nl-NL" sz="2000" dirty="0"/>
              <a:t> </a:t>
            </a:r>
            <a:r>
              <a:rPr lang="nl-NL" sz="2000" dirty="0" err="1"/>
              <a:t>danger</a:t>
            </a:r>
            <a:r>
              <a:rPr lang="nl-NL" sz="2000" dirty="0"/>
              <a:t> of a </a:t>
            </a:r>
            <a:r>
              <a:rPr lang="nl-NL" sz="2000" dirty="0" err="1"/>
              <a:t>deleted</a:t>
            </a:r>
            <a:r>
              <a:rPr lang="nl-NL" sz="2000" dirty="0"/>
              <a:t> domain</a:t>
            </a:r>
          </a:p>
          <a:p>
            <a:endParaRPr lang="nl-NL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Analyse DNS MX </a:t>
            </a:r>
            <a:r>
              <a:rPr lang="nl-NL" sz="2000" dirty="0" err="1"/>
              <a:t>queries</a:t>
            </a:r>
            <a:r>
              <a:rPr lang="nl-NL" sz="2000" dirty="0"/>
              <a:t> </a:t>
            </a:r>
            <a:r>
              <a:rPr lang="nl-NL" sz="2000" dirty="0" err="1"/>
              <a:t>for</a:t>
            </a:r>
            <a:r>
              <a:rPr lang="nl-NL" sz="2000" dirty="0"/>
              <a:t> </a:t>
            </a:r>
            <a:r>
              <a:rPr lang="nl-NL" sz="2000" dirty="0" err="1"/>
              <a:t>deleted</a:t>
            </a:r>
            <a:r>
              <a:rPr lang="nl-NL" sz="2000" dirty="0"/>
              <a:t> </a:t>
            </a:r>
            <a:r>
              <a:rPr lang="nl-NL" sz="2000" dirty="0" err="1"/>
              <a:t>domains</a:t>
            </a:r>
            <a:r>
              <a:rPr lang="nl-NL" sz="2000" dirty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 err="1"/>
              <a:t>Send</a:t>
            </a:r>
            <a:r>
              <a:rPr lang="nl-NL" sz="2000" dirty="0"/>
              <a:t> alert </a:t>
            </a:r>
            <a:r>
              <a:rPr lang="nl-NL" sz="2000" dirty="0" err="1"/>
              <a:t>to</a:t>
            </a:r>
            <a:r>
              <a:rPr lang="nl-NL" sz="2000" dirty="0"/>
              <a:t> </a:t>
            </a:r>
            <a:r>
              <a:rPr lang="nl-NL" sz="2000" dirty="0" err="1"/>
              <a:t>former</a:t>
            </a:r>
            <a:r>
              <a:rPr lang="nl-NL" sz="2000" dirty="0"/>
              <a:t> registrant, </a:t>
            </a:r>
            <a:r>
              <a:rPr lang="nl-NL" sz="2000" dirty="0" err="1"/>
              <a:t>when</a:t>
            </a:r>
            <a:r>
              <a:rPr lang="nl-NL" sz="2000" dirty="0"/>
              <a:t> </a:t>
            </a:r>
            <a:r>
              <a:rPr lang="nl-NL" sz="2000" dirty="0" err="1"/>
              <a:t>following</a:t>
            </a:r>
            <a:r>
              <a:rPr lang="nl-NL" sz="2000" dirty="0"/>
              <a:t> is </a:t>
            </a:r>
            <a:r>
              <a:rPr lang="nl-NL" sz="2000" dirty="0" err="1"/>
              <a:t>true</a:t>
            </a:r>
            <a:r>
              <a:rPr lang="nl-NL" sz="2000" dirty="0"/>
              <a:t>:</a:t>
            </a:r>
          </a:p>
          <a:p>
            <a:pPr marL="800100" lvl="2" indent="-342900">
              <a:buFont typeface="Arial" panose="020B0604020202020204" pitchFamily="34" charset="0"/>
              <a:buChar char="•"/>
            </a:pPr>
            <a:r>
              <a:rPr lang="nl-NL" sz="2000" dirty="0" err="1"/>
              <a:t>Indication</a:t>
            </a:r>
            <a:r>
              <a:rPr lang="nl-NL" sz="2000" dirty="0"/>
              <a:t> of </a:t>
            </a:r>
            <a:r>
              <a:rPr lang="nl-NL" sz="2000" dirty="0" err="1"/>
              <a:t>legitimate</a:t>
            </a:r>
            <a:r>
              <a:rPr lang="nl-NL" sz="2000" dirty="0"/>
              <a:t> email transactions</a:t>
            </a:r>
          </a:p>
          <a:p>
            <a:pPr marL="800100" lvl="2" indent="-342900">
              <a:buFont typeface="Arial" panose="020B0604020202020204" pitchFamily="34" charset="0"/>
              <a:buChar char="•"/>
            </a:pPr>
            <a:r>
              <a:rPr lang="nl-NL" sz="2000" dirty="0"/>
              <a:t>Domain </a:t>
            </a:r>
            <a:r>
              <a:rPr lang="nl-NL" sz="2000" dirty="0" err="1"/>
              <a:t>not</a:t>
            </a:r>
            <a:r>
              <a:rPr lang="nl-NL" sz="2000" dirty="0"/>
              <a:t> </a:t>
            </a:r>
            <a:r>
              <a:rPr lang="nl-NL" sz="2000" dirty="0" err="1"/>
              <a:t>yet</a:t>
            </a:r>
            <a:r>
              <a:rPr lang="nl-NL" sz="2000" dirty="0"/>
              <a:t> </a:t>
            </a:r>
            <a:r>
              <a:rPr lang="nl-NL" sz="2000" dirty="0" err="1"/>
              <a:t>exited</a:t>
            </a:r>
            <a:r>
              <a:rPr lang="nl-NL" sz="2000" dirty="0"/>
              <a:t> </a:t>
            </a:r>
            <a:r>
              <a:rPr lang="nl-NL" sz="2000" dirty="0" err="1"/>
              <a:t>quarantineperiod</a:t>
            </a:r>
            <a:r>
              <a:rPr lang="nl-NL" sz="2000" dirty="0"/>
              <a:t> (1)</a:t>
            </a:r>
          </a:p>
          <a:p>
            <a:endParaRPr lang="nl-NL" sz="2000" dirty="0"/>
          </a:p>
          <a:p>
            <a:endParaRPr lang="nl-NL" sz="2000" dirty="0"/>
          </a:p>
          <a:p>
            <a:endParaRPr lang="nl-NL" sz="2000" dirty="0"/>
          </a:p>
          <a:p>
            <a:endParaRPr lang="nl-NL" sz="2000" dirty="0"/>
          </a:p>
          <a:p>
            <a:br>
              <a:rPr lang="nl-NL" sz="1600" dirty="0"/>
            </a:br>
            <a:r>
              <a:rPr lang="nl-NL" sz="1200" dirty="0"/>
              <a:t>[1] </a:t>
            </a:r>
            <a:r>
              <a:rPr lang="nl-NL" sz="1200" dirty="0" err="1"/>
              <a:t>Only</a:t>
            </a:r>
            <a:r>
              <a:rPr lang="nl-NL" sz="1200" dirty="0"/>
              <a:t> </a:t>
            </a:r>
            <a:r>
              <a:rPr lang="nl-NL" sz="1200" dirty="0" err="1"/>
              <a:t>the</a:t>
            </a:r>
            <a:r>
              <a:rPr lang="nl-NL" sz="1200" dirty="0"/>
              <a:t> </a:t>
            </a:r>
            <a:r>
              <a:rPr lang="nl-NL" sz="1200" dirty="0" err="1"/>
              <a:t>former</a:t>
            </a:r>
            <a:r>
              <a:rPr lang="nl-NL" sz="1200" dirty="0"/>
              <a:t> registrant is </a:t>
            </a:r>
            <a:r>
              <a:rPr lang="nl-NL" sz="1200" dirty="0" err="1"/>
              <a:t>allowed</a:t>
            </a:r>
            <a:r>
              <a:rPr lang="nl-NL" sz="1200" dirty="0"/>
              <a:t> </a:t>
            </a:r>
            <a:r>
              <a:rPr lang="nl-NL" sz="1200" dirty="0" err="1"/>
              <a:t>to</a:t>
            </a:r>
            <a:r>
              <a:rPr lang="nl-NL" sz="1200" dirty="0"/>
              <a:t> </a:t>
            </a:r>
            <a:r>
              <a:rPr lang="nl-NL" sz="1200" dirty="0" err="1"/>
              <a:t>remove</a:t>
            </a:r>
            <a:r>
              <a:rPr lang="nl-NL" sz="1200" dirty="0"/>
              <a:t> </a:t>
            </a:r>
            <a:r>
              <a:rPr lang="nl-NL" sz="1200" dirty="0" err="1"/>
              <a:t>the</a:t>
            </a:r>
            <a:r>
              <a:rPr lang="nl-NL" sz="1200" dirty="0"/>
              <a:t> domain </a:t>
            </a:r>
            <a:r>
              <a:rPr lang="nl-NL" sz="1200" dirty="0" err="1"/>
              <a:t>from</a:t>
            </a:r>
            <a:r>
              <a:rPr lang="nl-NL" sz="1200" dirty="0"/>
              <a:t> </a:t>
            </a:r>
            <a:r>
              <a:rPr lang="nl-NL" sz="1200" dirty="0" err="1"/>
              <a:t>quarantine</a:t>
            </a:r>
            <a:endParaRPr lang="nl-NL" sz="1200" dirty="0"/>
          </a:p>
          <a:p>
            <a:pPr marL="914400" lvl="2">
              <a:buFont typeface="Arial" panose="020B0604020202020204" pitchFamily="34" charset="0"/>
              <a:buChar char="•"/>
            </a:pPr>
            <a:endParaRPr lang="nl-NL" sz="2000" dirty="0"/>
          </a:p>
          <a:p>
            <a:pPr lvl="2" indent="0">
              <a:buNone/>
            </a:pPr>
            <a:endParaRPr lang="nl-NL" sz="2000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dirty="0"/>
          </a:p>
          <a:p>
            <a:pPr marL="914400" lvl="2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57223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omain Life </a:t>
            </a:r>
            <a:r>
              <a:rPr lang="nl-NL" dirty="0" err="1"/>
              <a:t>Cycle</a:t>
            </a:r>
            <a:endParaRPr lang="nl-NL" sz="1200" dirty="0"/>
          </a:p>
        </p:txBody>
      </p:sp>
      <p:sp>
        <p:nvSpPr>
          <p:cNvPr id="6" name="Oval 4">
            <a:extLst>
              <a:ext uri="{FF2B5EF4-FFF2-40B4-BE49-F238E27FC236}">
                <a16:creationId xmlns:a16="http://schemas.microsoft.com/office/drawing/2014/main" id="{81AF4F1A-97EE-F172-B3D9-3D1BD3291DB3}"/>
              </a:ext>
            </a:extLst>
          </p:cNvPr>
          <p:cNvSpPr/>
          <p:nvPr/>
        </p:nvSpPr>
        <p:spPr>
          <a:xfrm>
            <a:off x="1235675" y="2450757"/>
            <a:ext cx="1769075" cy="171758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Active</a:t>
            </a:r>
            <a:endParaRPr lang="en-NL" sz="160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5B95F2D-6E98-FFE1-094B-A1D61C6A3AFC}"/>
              </a:ext>
            </a:extLst>
          </p:cNvPr>
          <p:cNvCxnSpPr>
            <a:cxnSpLocks/>
            <a:endCxn id="8" idx="2"/>
          </p:cNvCxnSpPr>
          <p:nvPr/>
        </p:nvCxnSpPr>
        <p:spPr>
          <a:xfrm flipV="1">
            <a:off x="3045087" y="3309552"/>
            <a:ext cx="1108842" cy="36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13">
            <a:extLst>
              <a:ext uri="{FF2B5EF4-FFF2-40B4-BE49-F238E27FC236}">
                <a16:creationId xmlns:a16="http://schemas.microsoft.com/office/drawing/2014/main" id="{11855070-A2B6-6B48-4E39-BA6302992804}"/>
              </a:ext>
            </a:extLst>
          </p:cNvPr>
          <p:cNvSpPr/>
          <p:nvPr/>
        </p:nvSpPr>
        <p:spPr>
          <a:xfrm>
            <a:off x="4153929" y="2450757"/>
            <a:ext cx="1769075" cy="171758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L" sz="1600"/>
              <a:t>Quarantine</a:t>
            </a:r>
          </a:p>
        </p:txBody>
      </p:sp>
      <p:sp>
        <p:nvSpPr>
          <p:cNvPr id="9" name="Oval 19">
            <a:extLst>
              <a:ext uri="{FF2B5EF4-FFF2-40B4-BE49-F238E27FC236}">
                <a16:creationId xmlns:a16="http://schemas.microsoft.com/office/drawing/2014/main" id="{9C592F62-E1EB-1C25-A18E-F85CDA3B54DC}"/>
              </a:ext>
            </a:extLst>
          </p:cNvPr>
          <p:cNvSpPr/>
          <p:nvPr/>
        </p:nvSpPr>
        <p:spPr>
          <a:xfrm>
            <a:off x="7072183" y="2450756"/>
            <a:ext cx="1769075" cy="171758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Free</a:t>
            </a:r>
            <a:endParaRPr lang="en-NL" sz="1600"/>
          </a:p>
        </p:txBody>
      </p:sp>
      <p:cxnSp>
        <p:nvCxnSpPr>
          <p:cNvPr id="10" name="Straight Arrow Connector 20">
            <a:extLst>
              <a:ext uri="{FF2B5EF4-FFF2-40B4-BE49-F238E27FC236}">
                <a16:creationId xmlns:a16="http://schemas.microsoft.com/office/drawing/2014/main" id="{D0C28A75-8FFD-76A9-2A85-B0812C81A742}"/>
              </a:ext>
            </a:extLst>
          </p:cNvPr>
          <p:cNvCxnSpPr>
            <a:cxnSpLocks/>
            <a:stCxn id="8" idx="6"/>
            <a:endCxn id="9" idx="2"/>
          </p:cNvCxnSpPr>
          <p:nvPr/>
        </p:nvCxnSpPr>
        <p:spPr>
          <a:xfrm flipV="1">
            <a:off x="5923004" y="3309551"/>
            <a:ext cx="1149179" cy="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23">
            <a:extLst>
              <a:ext uri="{FF2B5EF4-FFF2-40B4-BE49-F238E27FC236}">
                <a16:creationId xmlns:a16="http://schemas.microsoft.com/office/drawing/2014/main" id="{72FC1962-FCA6-DDAA-76E5-E614C5DADF8C}"/>
              </a:ext>
            </a:extLst>
          </p:cNvPr>
          <p:cNvCxnSpPr>
            <a:cxnSpLocks/>
            <a:stCxn id="9" idx="0"/>
            <a:endCxn id="6" idx="0"/>
          </p:cNvCxnSpPr>
          <p:nvPr/>
        </p:nvCxnSpPr>
        <p:spPr>
          <a:xfrm rot="16200000" flipH="1" flipV="1">
            <a:off x="5038466" y="-467498"/>
            <a:ext cx="1" cy="5836508"/>
          </a:xfrm>
          <a:prstGeom prst="bentConnector3">
            <a:avLst>
              <a:gd name="adj1" fmla="val -22860000000"/>
            </a:avLst>
          </a:prstGeom>
          <a:ln w="38100">
            <a:solidFill>
              <a:schemeClr val="accent2">
                <a:lumMod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32">
            <a:extLst>
              <a:ext uri="{FF2B5EF4-FFF2-40B4-BE49-F238E27FC236}">
                <a16:creationId xmlns:a16="http://schemas.microsoft.com/office/drawing/2014/main" id="{776A7DE4-A090-9F12-1332-B061CA9F7BF8}"/>
              </a:ext>
            </a:extLst>
          </p:cNvPr>
          <p:cNvSpPr txBox="1"/>
          <p:nvPr/>
        </p:nvSpPr>
        <p:spPr>
          <a:xfrm>
            <a:off x="3047654" y="2899963"/>
            <a:ext cx="90922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 sz="2000">
                <a:solidFill>
                  <a:srgbClr val="656565"/>
                </a:solidFill>
              </a:rPr>
              <a:t>Delete</a:t>
            </a:r>
          </a:p>
        </p:txBody>
      </p:sp>
      <p:sp>
        <p:nvSpPr>
          <p:cNvPr id="13" name="TextBox 33">
            <a:extLst>
              <a:ext uri="{FF2B5EF4-FFF2-40B4-BE49-F238E27FC236}">
                <a16:creationId xmlns:a16="http://schemas.microsoft.com/office/drawing/2014/main" id="{69C5ED3A-2B4E-4E34-FF0A-55B726362E3C}"/>
              </a:ext>
            </a:extLst>
          </p:cNvPr>
          <p:cNvSpPr txBox="1"/>
          <p:nvPr/>
        </p:nvSpPr>
        <p:spPr>
          <a:xfrm>
            <a:off x="6228800" y="2951195"/>
            <a:ext cx="6463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 sz="2000">
                <a:solidFill>
                  <a:srgbClr val="656565"/>
                </a:solidFill>
              </a:rPr>
              <a:t>Exit</a:t>
            </a:r>
          </a:p>
        </p:txBody>
      </p:sp>
      <p:sp>
        <p:nvSpPr>
          <p:cNvPr id="14" name="TextBox 34">
            <a:extLst>
              <a:ext uri="{FF2B5EF4-FFF2-40B4-BE49-F238E27FC236}">
                <a16:creationId xmlns:a16="http://schemas.microsoft.com/office/drawing/2014/main" id="{E43CCE1F-80AE-5DBC-15D9-E27A215E3CF6}"/>
              </a:ext>
            </a:extLst>
          </p:cNvPr>
          <p:cNvSpPr txBox="1"/>
          <p:nvPr/>
        </p:nvSpPr>
        <p:spPr>
          <a:xfrm>
            <a:off x="5468816" y="1750262"/>
            <a:ext cx="15199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 sz="2000">
                <a:solidFill>
                  <a:srgbClr val="656565"/>
                </a:solidFill>
              </a:rPr>
              <a:t>Re-Register</a:t>
            </a:r>
          </a:p>
        </p:txBody>
      </p:sp>
      <p:sp>
        <p:nvSpPr>
          <p:cNvPr id="15" name="TextBox 36">
            <a:extLst>
              <a:ext uri="{FF2B5EF4-FFF2-40B4-BE49-F238E27FC236}">
                <a16:creationId xmlns:a16="http://schemas.microsoft.com/office/drawing/2014/main" id="{195AEEBB-1F88-A379-6CE3-6B0457D9F1F1}"/>
              </a:ext>
            </a:extLst>
          </p:cNvPr>
          <p:cNvSpPr txBox="1"/>
          <p:nvPr/>
        </p:nvSpPr>
        <p:spPr>
          <a:xfrm>
            <a:off x="1627128" y="4353007"/>
            <a:ext cx="12121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 sz="2000">
                <a:solidFill>
                  <a:srgbClr val="656565"/>
                </a:solidFill>
              </a:rPr>
              <a:t>Mail: OK</a:t>
            </a:r>
          </a:p>
        </p:txBody>
      </p:sp>
      <p:sp>
        <p:nvSpPr>
          <p:cNvPr id="16" name="TextBox 37">
            <a:extLst>
              <a:ext uri="{FF2B5EF4-FFF2-40B4-BE49-F238E27FC236}">
                <a16:creationId xmlns:a16="http://schemas.microsoft.com/office/drawing/2014/main" id="{285956D7-D3A9-A9E1-7FEA-0AA59EE5E24D}"/>
              </a:ext>
            </a:extLst>
          </p:cNvPr>
          <p:cNvSpPr txBox="1"/>
          <p:nvPr/>
        </p:nvSpPr>
        <p:spPr>
          <a:xfrm>
            <a:off x="4400022" y="4356436"/>
            <a:ext cx="16898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 sz="2000">
                <a:solidFill>
                  <a:srgbClr val="656565"/>
                </a:solidFill>
              </a:rPr>
              <a:t>Mail: Bounce</a:t>
            </a:r>
          </a:p>
        </p:txBody>
      </p:sp>
      <p:sp>
        <p:nvSpPr>
          <p:cNvPr id="17" name="TextBox 38">
            <a:extLst>
              <a:ext uri="{FF2B5EF4-FFF2-40B4-BE49-F238E27FC236}">
                <a16:creationId xmlns:a16="http://schemas.microsoft.com/office/drawing/2014/main" id="{286D4EC6-FC86-0225-4E96-70545D317B55}"/>
              </a:ext>
            </a:extLst>
          </p:cNvPr>
          <p:cNvSpPr txBox="1"/>
          <p:nvPr/>
        </p:nvSpPr>
        <p:spPr>
          <a:xfrm>
            <a:off x="7248032" y="4353007"/>
            <a:ext cx="16898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L" sz="2000">
                <a:solidFill>
                  <a:srgbClr val="656565"/>
                </a:solidFill>
              </a:rPr>
              <a:t>Mail: Bounce</a:t>
            </a:r>
          </a:p>
        </p:txBody>
      </p:sp>
      <p:cxnSp>
        <p:nvCxnSpPr>
          <p:cNvPr id="20" name="Straight Arrow Connector 23">
            <a:extLst>
              <a:ext uri="{FF2B5EF4-FFF2-40B4-BE49-F238E27FC236}">
                <a16:creationId xmlns:a16="http://schemas.microsoft.com/office/drawing/2014/main" id="{C3AC7FF8-001D-E179-7C2A-98A5FAD374D4}"/>
              </a:ext>
            </a:extLst>
          </p:cNvPr>
          <p:cNvCxnSpPr>
            <a:cxnSpLocks/>
          </p:cNvCxnSpPr>
          <p:nvPr/>
        </p:nvCxnSpPr>
        <p:spPr>
          <a:xfrm flipH="1" flipV="1">
            <a:off x="4286742" y="5564538"/>
            <a:ext cx="1728347" cy="12700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kstvak 24">
            <a:extLst>
              <a:ext uri="{FF2B5EF4-FFF2-40B4-BE49-F238E27FC236}">
                <a16:creationId xmlns:a16="http://schemas.microsoft.com/office/drawing/2014/main" id="{BDF6262A-8073-54E7-7CD4-D8CEC87FEF00}"/>
              </a:ext>
            </a:extLst>
          </p:cNvPr>
          <p:cNvSpPr txBox="1"/>
          <p:nvPr/>
        </p:nvSpPr>
        <p:spPr>
          <a:xfrm>
            <a:off x="4346048" y="5090160"/>
            <a:ext cx="16097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000">
                <a:solidFill>
                  <a:srgbClr val="656565"/>
                </a:solidFill>
              </a:rPr>
              <a:t>LEMMINGS</a:t>
            </a:r>
          </a:p>
        </p:txBody>
      </p:sp>
      <p:cxnSp>
        <p:nvCxnSpPr>
          <p:cNvPr id="26" name="Straight Arrow Connector 23">
            <a:extLst>
              <a:ext uri="{FF2B5EF4-FFF2-40B4-BE49-F238E27FC236}">
                <a16:creationId xmlns:a16="http://schemas.microsoft.com/office/drawing/2014/main" id="{76B07FD8-509B-7EE5-52D7-581060AB6FCC}"/>
              </a:ext>
            </a:extLst>
          </p:cNvPr>
          <p:cNvCxnSpPr>
            <a:cxnSpLocks/>
            <a:stCxn id="8" idx="0"/>
          </p:cNvCxnSpPr>
          <p:nvPr/>
        </p:nvCxnSpPr>
        <p:spPr>
          <a:xfrm rot="16200000" flipH="1" flipV="1">
            <a:off x="3456120" y="884398"/>
            <a:ext cx="15988" cy="3148706"/>
          </a:xfrm>
          <a:prstGeom prst="bentConnector4">
            <a:avLst>
              <a:gd name="adj1" fmla="val -3971729"/>
              <a:gd name="adj2" fmla="val 99863"/>
            </a:avLst>
          </a:prstGeom>
          <a:ln w="38100">
            <a:solidFill>
              <a:schemeClr val="accent4">
                <a:lumMod val="7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34">
            <a:extLst>
              <a:ext uri="{FF2B5EF4-FFF2-40B4-BE49-F238E27FC236}">
                <a16:creationId xmlns:a16="http://schemas.microsoft.com/office/drawing/2014/main" id="{D990692F-4BF3-F519-CCA9-148BC37C868F}"/>
              </a:ext>
            </a:extLst>
          </p:cNvPr>
          <p:cNvSpPr txBox="1"/>
          <p:nvPr/>
        </p:nvSpPr>
        <p:spPr>
          <a:xfrm>
            <a:off x="2569087" y="1334984"/>
            <a:ext cx="17668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solidFill>
                  <a:srgbClr val="656565"/>
                </a:solidFill>
              </a:rPr>
              <a:t>Cancel-Delete</a:t>
            </a:r>
            <a:endParaRPr lang="en-NL" sz="2000">
              <a:solidFill>
                <a:srgbClr val="656565"/>
              </a:solidFill>
            </a:endParaRPr>
          </a:p>
        </p:txBody>
      </p:sp>
      <p:sp>
        <p:nvSpPr>
          <p:cNvPr id="48" name="Tekstvak 47">
            <a:extLst>
              <a:ext uri="{FF2B5EF4-FFF2-40B4-BE49-F238E27FC236}">
                <a16:creationId xmlns:a16="http://schemas.microsoft.com/office/drawing/2014/main" id="{350D8E17-9A3F-8619-E0B9-D5537294C063}"/>
              </a:ext>
            </a:extLst>
          </p:cNvPr>
          <p:cNvSpPr txBox="1"/>
          <p:nvPr/>
        </p:nvSpPr>
        <p:spPr>
          <a:xfrm>
            <a:off x="4639959" y="3493951"/>
            <a:ext cx="7970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400">
                <a:solidFill>
                  <a:schemeClr val="bg1"/>
                </a:solidFill>
              </a:rPr>
              <a:t>40 </a:t>
            </a:r>
            <a:r>
              <a:rPr lang="nl-NL" sz="1400" err="1">
                <a:solidFill>
                  <a:schemeClr val="bg1"/>
                </a:solidFill>
              </a:rPr>
              <a:t>days</a:t>
            </a:r>
            <a:endParaRPr lang="nl-NL" sz="1400">
              <a:solidFill>
                <a:schemeClr val="bg1"/>
              </a:solidFill>
            </a:endParaRPr>
          </a:p>
        </p:txBody>
      </p:sp>
      <p:sp>
        <p:nvSpPr>
          <p:cNvPr id="52" name="Tekstvak 51">
            <a:extLst>
              <a:ext uri="{FF2B5EF4-FFF2-40B4-BE49-F238E27FC236}">
                <a16:creationId xmlns:a16="http://schemas.microsoft.com/office/drawing/2014/main" id="{FC908975-4268-6735-26EE-074CC4F9C2D3}"/>
              </a:ext>
            </a:extLst>
          </p:cNvPr>
          <p:cNvSpPr txBox="1"/>
          <p:nvPr/>
        </p:nvSpPr>
        <p:spPr>
          <a:xfrm>
            <a:off x="4487914" y="5603375"/>
            <a:ext cx="13260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2000">
                <a:solidFill>
                  <a:srgbClr val="656565"/>
                </a:solidFill>
              </a:rPr>
              <a:t>Day 1 - 30</a:t>
            </a:r>
          </a:p>
        </p:txBody>
      </p:sp>
    </p:spTree>
    <p:extLst>
      <p:ext uri="{BB962C8B-B14F-4D97-AF65-F5344CB8AC3E}">
        <p14:creationId xmlns:p14="http://schemas.microsoft.com/office/powerpoint/2010/main" val="2977132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C825B9-0A48-664E-A43C-4C50636E9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EMMINGS 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8D7D2A78-5B3B-544F-AF83-FB1C11A9D3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anchor="t"/>
          <a:lstStyle/>
          <a:p>
            <a:r>
              <a:rPr lang="nl-NL" sz="2000" dirty="0"/>
              <a:t>A system </a:t>
            </a:r>
            <a:r>
              <a:rPr lang="nl-NL" sz="2000" dirty="0" err="1"/>
              <a:t>for</a:t>
            </a:r>
            <a:r>
              <a:rPr lang="nl-NL" sz="2000" dirty="0"/>
              <a:t> </a:t>
            </a:r>
            <a:r>
              <a:rPr lang="nl-NL" sz="2000" dirty="0" err="1"/>
              <a:t>detecting</a:t>
            </a:r>
            <a:r>
              <a:rPr lang="nl-NL" sz="2000" dirty="0"/>
              <a:t> </a:t>
            </a:r>
            <a:r>
              <a:rPr lang="nl-NL" sz="2000" dirty="0" err="1"/>
              <a:t>legitimate</a:t>
            </a:r>
            <a:r>
              <a:rPr lang="nl-NL" sz="2000" dirty="0"/>
              <a:t> mail transactions </a:t>
            </a:r>
            <a:r>
              <a:rPr lang="nl-NL" sz="2000" dirty="0" err="1"/>
              <a:t>by</a:t>
            </a:r>
            <a:r>
              <a:rPr lang="nl-NL" sz="2000" dirty="0"/>
              <a:t> </a:t>
            </a:r>
            <a:r>
              <a:rPr lang="nl-NL" sz="2000" dirty="0" err="1"/>
              <a:t>analysing</a:t>
            </a:r>
            <a:r>
              <a:rPr lang="nl-NL" sz="2000" dirty="0"/>
              <a:t> DNS data  </a:t>
            </a:r>
          </a:p>
          <a:p>
            <a:endParaRPr lang="nl-NL" sz="2000" dirty="0"/>
          </a:p>
          <a:p>
            <a:r>
              <a:rPr lang="nl-NL" sz="2000" b="1" dirty="0" err="1"/>
              <a:t>Challenges</a:t>
            </a:r>
            <a:endParaRPr lang="nl-NL" sz="2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l-NL" sz="2000" dirty="0"/>
              <a:t>Filtering out </a:t>
            </a:r>
            <a:r>
              <a:rPr lang="nl-NL" sz="2000" dirty="0" err="1"/>
              <a:t>noise</a:t>
            </a:r>
            <a:r>
              <a:rPr lang="nl-NL" sz="2000" dirty="0"/>
              <a:t> mail; (Marketing, Spam, </a:t>
            </a:r>
            <a:r>
              <a:rPr lang="nl-NL" sz="2000" dirty="0" err="1"/>
              <a:t>social</a:t>
            </a:r>
            <a:r>
              <a:rPr lang="nl-NL" sz="2000" dirty="0"/>
              <a:t> media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l-NL" sz="2000" dirty="0" err="1"/>
              <a:t>Explaining</a:t>
            </a:r>
            <a:r>
              <a:rPr lang="nl-NL" sz="2000" dirty="0"/>
              <a:t> </a:t>
            </a:r>
            <a:r>
              <a:rPr lang="nl-NL" sz="2000" dirty="0" err="1"/>
              <a:t>the</a:t>
            </a:r>
            <a:r>
              <a:rPr lang="nl-NL" sz="2000" dirty="0"/>
              <a:t> security risk </a:t>
            </a:r>
            <a:r>
              <a:rPr lang="nl-NL" sz="2000" dirty="0" err="1"/>
              <a:t>to</a:t>
            </a:r>
            <a:r>
              <a:rPr lang="nl-NL" sz="2000" dirty="0"/>
              <a:t> a registrant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l-NL" sz="2000" dirty="0" err="1"/>
              <a:t>Not</a:t>
            </a:r>
            <a:r>
              <a:rPr lang="nl-NL" sz="2000" dirty="0"/>
              <a:t> </a:t>
            </a:r>
            <a:r>
              <a:rPr lang="nl-NL" sz="2000" dirty="0" err="1"/>
              <a:t>every</a:t>
            </a:r>
            <a:r>
              <a:rPr lang="nl-NL" sz="2000" dirty="0"/>
              <a:t> registrant </a:t>
            </a:r>
            <a:r>
              <a:rPr lang="nl-NL" sz="2000" dirty="0" err="1"/>
              <a:t>can</a:t>
            </a:r>
            <a:r>
              <a:rPr lang="nl-NL" sz="2000" dirty="0"/>
              <a:t> </a:t>
            </a:r>
            <a:r>
              <a:rPr lang="nl-NL" sz="2000" dirty="0" err="1"/>
              <a:t>be</a:t>
            </a:r>
            <a:r>
              <a:rPr lang="nl-NL" sz="2000" dirty="0"/>
              <a:t> </a:t>
            </a:r>
            <a:r>
              <a:rPr lang="nl-NL" sz="2000" dirty="0" err="1"/>
              <a:t>contacted</a:t>
            </a:r>
            <a:r>
              <a:rPr lang="nl-NL" sz="2000" dirty="0"/>
              <a:t> via e-mail</a:t>
            </a:r>
          </a:p>
          <a:p>
            <a:pPr marL="800100" lvl="2" indent="-342900">
              <a:buFont typeface="Arial" panose="020B0604020202020204" pitchFamily="34" charset="0"/>
              <a:buChar char="•"/>
            </a:pPr>
            <a:r>
              <a:rPr lang="nl-NL" sz="2000" dirty="0"/>
              <a:t>Privacy </a:t>
            </a:r>
            <a:r>
              <a:rPr lang="nl-NL" sz="2000" dirty="0" err="1"/>
              <a:t>proxies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inzone</a:t>
            </a:r>
            <a:r>
              <a:rPr lang="nl-NL" sz="2000" dirty="0"/>
              <a:t> mail </a:t>
            </a:r>
            <a:r>
              <a:rPr lang="nl-NL" sz="2000" dirty="0" err="1"/>
              <a:t>addresses</a:t>
            </a:r>
            <a:endParaRPr lang="nl-NL" sz="2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l-NL" sz="2000" dirty="0" err="1"/>
              <a:t>Prevent</a:t>
            </a:r>
            <a:r>
              <a:rPr lang="nl-NL" sz="2000" dirty="0"/>
              <a:t> </a:t>
            </a:r>
            <a:r>
              <a:rPr lang="nl-NL" sz="2000" dirty="0" err="1"/>
              <a:t>the</a:t>
            </a:r>
            <a:r>
              <a:rPr lang="nl-NL" sz="2000" dirty="0"/>
              <a:t> alert </a:t>
            </a:r>
            <a:r>
              <a:rPr lang="nl-NL" sz="2000" dirty="0" err="1"/>
              <a:t>from</a:t>
            </a:r>
            <a:r>
              <a:rPr lang="nl-NL" sz="2000" dirty="0"/>
              <a:t> </a:t>
            </a:r>
            <a:r>
              <a:rPr lang="nl-NL" sz="2000" dirty="0" err="1"/>
              <a:t>looking</a:t>
            </a:r>
            <a:r>
              <a:rPr lang="nl-NL" sz="2000" dirty="0"/>
              <a:t> like a </a:t>
            </a:r>
            <a:r>
              <a:rPr lang="nl-NL" sz="2000" dirty="0" err="1"/>
              <a:t>scam</a:t>
            </a:r>
            <a:r>
              <a:rPr lang="nl-NL" sz="2000" dirty="0"/>
              <a:t>/spam </a:t>
            </a:r>
            <a:r>
              <a:rPr lang="nl-NL" sz="2000" dirty="0" err="1"/>
              <a:t>message</a:t>
            </a:r>
            <a:endParaRPr lang="nl-NL" sz="2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l-NL" sz="2000" dirty="0" err="1"/>
              <a:t>Prevent</a:t>
            </a:r>
            <a:r>
              <a:rPr lang="nl-NL" sz="2000" dirty="0"/>
              <a:t> registrant </a:t>
            </a:r>
            <a:r>
              <a:rPr lang="nl-NL" sz="2000" dirty="0" err="1"/>
              <a:t>questions</a:t>
            </a:r>
            <a:r>
              <a:rPr lang="nl-NL" sz="2000" dirty="0"/>
              <a:t> </a:t>
            </a:r>
            <a:r>
              <a:rPr lang="nl-NL" sz="2000" dirty="0" err="1"/>
              <a:t>flooding</a:t>
            </a:r>
            <a:r>
              <a:rPr lang="nl-NL" sz="2000" dirty="0"/>
              <a:t> </a:t>
            </a:r>
            <a:r>
              <a:rPr lang="nl-NL" sz="2000" dirty="0" err="1"/>
              <a:t>registar</a:t>
            </a:r>
            <a:r>
              <a:rPr lang="nl-NL" sz="2000" dirty="0"/>
              <a:t> supportdesk</a:t>
            </a:r>
          </a:p>
          <a:p>
            <a:pPr lvl="2" indent="0">
              <a:buNone/>
            </a:pPr>
            <a:endParaRPr lang="nl-NL" sz="2000" dirty="0"/>
          </a:p>
          <a:p>
            <a:endParaRPr lang="nl-NL" sz="2000" dirty="0"/>
          </a:p>
          <a:p>
            <a:endParaRPr lang="nl-NL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2000" dirty="0"/>
          </a:p>
          <a:p>
            <a:endParaRPr lang="nl-NL" sz="2000" dirty="0"/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38F93659-9527-2D4E-81FE-0F3CEC9ACFEC}"/>
              </a:ext>
            </a:extLst>
          </p:cNvPr>
          <p:cNvSpPr txBox="1"/>
          <p:nvPr/>
        </p:nvSpPr>
        <p:spPr>
          <a:xfrm>
            <a:off x="3007146" y="469260"/>
            <a:ext cx="44967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>
                <a:solidFill>
                  <a:srgbClr val="656565"/>
                </a:solidFill>
              </a:rPr>
              <a:t>(</a:t>
            </a:r>
            <a:r>
              <a:rPr lang="nl-NL" dirty="0" err="1">
                <a:solidFill>
                  <a:srgbClr val="656565"/>
                </a:solidFill>
              </a:rPr>
              <a:t>de</a:t>
            </a:r>
            <a:r>
              <a:rPr lang="nl-NL" b="1" dirty="0" err="1">
                <a:solidFill>
                  <a:srgbClr val="656565"/>
                </a:solidFill>
              </a:rPr>
              <a:t>L</a:t>
            </a:r>
            <a:r>
              <a:rPr lang="nl-NL" dirty="0" err="1">
                <a:solidFill>
                  <a:srgbClr val="656565"/>
                </a:solidFill>
              </a:rPr>
              <a:t>et</a:t>
            </a:r>
            <a:r>
              <a:rPr lang="nl-NL" b="1" dirty="0" err="1">
                <a:solidFill>
                  <a:srgbClr val="656565"/>
                </a:solidFill>
              </a:rPr>
              <a:t>E</a:t>
            </a:r>
            <a:r>
              <a:rPr lang="nl-NL" dirty="0" err="1">
                <a:solidFill>
                  <a:srgbClr val="656565"/>
                </a:solidFill>
              </a:rPr>
              <a:t>d</a:t>
            </a:r>
            <a:r>
              <a:rPr lang="nl-NL" dirty="0">
                <a:solidFill>
                  <a:srgbClr val="656565"/>
                </a:solidFill>
              </a:rPr>
              <a:t> </a:t>
            </a:r>
            <a:r>
              <a:rPr lang="nl-NL" dirty="0" err="1">
                <a:solidFill>
                  <a:srgbClr val="656565"/>
                </a:solidFill>
              </a:rPr>
              <a:t>do</a:t>
            </a:r>
            <a:r>
              <a:rPr lang="nl-NL" b="1" dirty="0" err="1">
                <a:solidFill>
                  <a:srgbClr val="656565"/>
                </a:solidFill>
              </a:rPr>
              <a:t>M</a:t>
            </a:r>
            <a:r>
              <a:rPr lang="nl-NL" dirty="0" err="1">
                <a:solidFill>
                  <a:srgbClr val="656565"/>
                </a:solidFill>
              </a:rPr>
              <a:t>ain</a:t>
            </a:r>
            <a:r>
              <a:rPr lang="nl-NL" dirty="0">
                <a:solidFill>
                  <a:srgbClr val="656565"/>
                </a:solidFill>
              </a:rPr>
              <a:t> </a:t>
            </a:r>
            <a:r>
              <a:rPr lang="nl-NL" dirty="0" err="1">
                <a:solidFill>
                  <a:srgbClr val="656565"/>
                </a:solidFill>
              </a:rPr>
              <a:t>Ma</a:t>
            </a:r>
            <a:r>
              <a:rPr lang="nl-NL" b="1" dirty="0" err="1">
                <a:solidFill>
                  <a:srgbClr val="656565"/>
                </a:solidFill>
              </a:rPr>
              <a:t>I</a:t>
            </a:r>
            <a:r>
              <a:rPr lang="nl-NL" dirty="0" err="1">
                <a:solidFill>
                  <a:srgbClr val="656565"/>
                </a:solidFill>
              </a:rPr>
              <a:t>l</a:t>
            </a:r>
            <a:r>
              <a:rPr lang="nl-NL" dirty="0">
                <a:solidFill>
                  <a:srgbClr val="656565"/>
                </a:solidFill>
              </a:rPr>
              <a:t> </a:t>
            </a:r>
            <a:r>
              <a:rPr lang="nl-NL" dirty="0" err="1">
                <a:solidFill>
                  <a:srgbClr val="656565"/>
                </a:solidFill>
              </a:rPr>
              <a:t>war</a:t>
            </a:r>
            <a:r>
              <a:rPr lang="nl-NL" b="1" dirty="0" err="1">
                <a:solidFill>
                  <a:srgbClr val="656565"/>
                </a:solidFill>
              </a:rPr>
              <a:t>N</a:t>
            </a:r>
            <a:r>
              <a:rPr lang="nl-NL" dirty="0" err="1">
                <a:solidFill>
                  <a:srgbClr val="656565"/>
                </a:solidFill>
              </a:rPr>
              <a:t>in</a:t>
            </a:r>
            <a:r>
              <a:rPr lang="nl-NL" b="1" dirty="0" err="1">
                <a:solidFill>
                  <a:srgbClr val="656565"/>
                </a:solidFill>
              </a:rPr>
              <a:t>G</a:t>
            </a:r>
            <a:r>
              <a:rPr lang="nl-NL" dirty="0">
                <a:solidFill>
                  <a:srgbClr val="656565"/>
                </a:solidFill>
              </a:rPr>
              <a:t> </a:t>
            </a:r>
            <a:r>
              <a:rPr lang="nl-NL" b="1" dirty="0">
                <a:solidFill>
                  <a:srgbClr val="656565"/>
                </a:solidFill>
              </a:rPr>
              <a:t>S</a:t>
            </a:r>
            <a:r>
              <a:rPr lang="nl-NL" dirty="0">
                <a:solidFill>
                  <a:srgbClr val="656565"/>
                </a:solidFill>
              </a:rPr>
              <a:t>ystem)</a:t>
            </a:r>
          </a:p>
        </p:txBody>
      </p:sp>
    </p:spTree>
    <p:extLst>
      <p:ext uri="{BB962C8B-B14F-4D97-AF65-F5344CB8AC3E}">
        <p14:creationId xmlns:p14="http://schemas.microsoft.com/office/powerpoint/2010/main" val="1278222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7BC4AE-082D-44EC-B753-EC22D39B50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ata Sources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AF37D6C7-03B0-683F-23E9-AC97B7EFDD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anchor="t"/>
          <a:lstStyle/>
          <a:p>
            <a:pPr marL="342900" indent="-342900">
              <a:buFontTx/>
              <a:buChar char="-"/>
            </a:pPr>
            <a:r>
              <a:rPr lang="nl-NL" sz="2000" dirty="0" err="1"/>
              <a:t>Registration</a:t>
            </a:r>
            <a:r>
              <a:rPr lang="nl-NL" sz="2000" dirty="0"/>
              <a:t> database</a:t>
            </a:r>
          </a:p>
          <a:p>
            <a:pPr marL="342900" indent="-342900">
              <a:buFontTx/>
              <a:buChar char="-"/>
            </a:pPr>
            <a:r>
              <a:rPr lang="nl-NL" sz="2000" dirty="0"/>
              <a:t>Daily DNS </a:t>
            </a:r>
            <a:r>
              <a:rPr lang="nl-NL" sz="2000" dirty="0" err="1"/>
              <a:t>queries</a:t>
            </a:r>
            <a:r>
              <a:rPr lang="nl-NL" sz="2000" dirty="0"/>
              <a:t> </a:t>
            </a:r>
            <a:r>
              <a:rPr lang="nl-NL" sz="2000" dirty="0" err="1"/>
              <a:t>for</a:t>
            </a:r>
            <a:r>
              <a:rPr lang="nl-NL" sz="2000" dirty="0"/>
              <a:t> .nl</a:t>
            </a:r>
          </a:p>
          <a:p>
            <a:pPr marL="800100" lvl="2" indent="-342900">
              <a:buFontTx/>
              <a:buChar char="-"/>
            </a:pPr>
            <a:r>
              <a:rPr lang="nl-NL" sz="2000" dirty="0"/>
              <a:t>Total ~4 </a:t>
            </a:r>
            <a:r>
              <a:rPr lang="nl-NL" sz="2000" dirty="0" err="1"/>
              <a:t>billion</a:t>
            </a:r>
            <a:endParaRPr lang="nl-NL" sz="2000" dirty="0"/>
          </a:p>
          <a:p>
            <a:pPr marL="800100" lvl="2" indent="-342900">
              <a:buFontTx/>
              <a:buChar char="-"/>
            </a:pPr>
            <a:r>
              <a:rPr lang="nl-NL" sz="2000" dirty="0"/>
              <a:t>MX ~180 </a:t>
            </a:r>
            <a:r>
              <a:rPr lang="nl-NL" sz="2000" dirty="0" err="1"/>
              <a:t>million</a:t>
            </a:r>
            <a:endParaRPr lang="nl-NL" sz="2000" dirty="0"/>
          </a:p>
          <a:p>
            <a:pPr marL="342900" indent="-342900">
              <a:buFontTx/>
              <a:buChar char="-"/>
            </a:pPr>
            <a:r>
              <a:rPr lang="nl-NL" sz="2000" dirty="0"/>
              <a:t>Web </a:t>
            </a:r>
            <a:r>
              <a:rPr lang="nl-NL" sz="2000" dirty="0" err="1"/>
              <a:t>crawler</a:t>
            </a:r>
            <a:r>
              <a:rPr lang="nl-NL" sz="2000" dirty="0"/>
              <a:t> data </a:t>
            </a:r>
          </a:p>
          <a:p>
            <a:pPr marL="800100" lvl="2" indent="-342900">
              <a:buFontTx/>
              <a:buChar char="-"/>
            </a:pPr>
            <a:r>
              <a:rPr lang="nl-NL" sz="2000" dirty="0"/>
              <a:t>~6.1 </a:t>
            </a:r>
            <a:r>
              <a:rPr lang="nl-NL" sz="2000" dirty="0" err="1"/>
              <a:t>million</a:t>
            </a:r>
            <a:r>
              <a:rPr lang="nl-NL" sz="2000" dirty="0"/>
              <a:t> .nl </a:t>
            </a:r>
            <a:r>
              <a:rPr lang="nl-NL" sz="2000" dirty="0" err="1"/>
              <a:t>domains</a:t>
            </a:r>
            <a:r>
              <a:rPr lang="nl-NL" sz="2000" dirty="0"/>
              <a:t>,</a:t>
            </a:r>
          </a:p>
          <a:p>
            <a:pPr marL="800100" lvl="2" indent="-342900">
              <a:buFontTx/>
              <a:buChar char="-"/>
            </a:pPr>
            <a:r>
              <a:rPr lang="nl-NL" sz="2000" dirty="0"/>
              <a:t>Web content-type (business, </a:t>
            </a:r>
            <a:r>
              <a:rPr lang="nl-NL" sz="2000" dirty="0" err="1"/>
              <a:t>ecommerce</a:t>
            </a:r>
            <a:r>
              <a:rPr lang="nl-NL" sz="2000" dirty="0"/>
              <a:t> ...)</a:t>
            </a:r>
          </a:p>
          <a:p>
            <a:pPr marL="800100" lvl="2" indent="-342900">
              <a:buFontTx/>
              <a:buChar char="-"/>
            </a:pPr>
            <a:r>
              <a:rPr lang="nl-NL" sz="2000" dirty="0" err="1"/>
              <a:t>Use</a:t>
            </a:r>
            <a:r>
              <a:rPr lang="nl-NL" sz="2000" dirty="0"/>
              <a:t> of email </a:t>
            </a:r>
            <a:r>
              <a:rPr lang="nl-NL" sz="2000" dirty="0" err="1"/>
              <a:t>addresses</a:t>
            </a:r>
            <a:r>
              <a:rPr lang="nl-NL" sz="2000" dirty="0"/>
              <a:t> on website</a:t>
            </a:r>
          </a:p>
          <a:p>
            <a:pPr marL="342900" indent="-342900">
              <a:buFontTx/>
              <a:buChar char="-"/>
            </a:pPr>
            <a:r>
              <a:rPr lang="nl-NL" sz="2000" dirty="0" err="1"/>
              <a:t>Abuse</a:t>
            </a:r>
            <a:r>
              <a:rPr lang="nl-NL" sz="2000" dirty="0"/>
              <a:t> feeds (</a:t>
            </a:r>
            <a:r>
              <a:rPr lang="nl-NL" sz="2000" dirty="0" err="1"/>
              <a:t>Spamhaus</a:t>
            </a:r>
            <a:r>
              <a:rPr lang="nl-NL" sz="2000" dirty="0"/>
              <a:t>, APWG)</a:t>
            </a:r>
          </a:p>
          <a:p>
            <a:pPr marL="342900" indent="-342900">
              <a:buFontTx/>
              <a:buChar char="-"/>
            </a:pPr>
            <a:r>
              <a:rPr lang="nl-NL" sz="2000" dirty="0" err="1"/>
              <a:t>Sinkhole</a:t>
            </a:r>
            <a:endParaRPr lang="nl-NL" sz="2000" dirty="0"/>
          </a:p>
          <a:p>
            <a:pPr marL="800100" lvl="2" indent="-342900">
              <a:buFontTx/>
              <a:buChar char="-"/>
            </a:pPr>
            <a:r>
              <a:rPr lang="nl-NL" sz="2000" dirty="0"/>
              <a:t>Spambots</a:t>
            </a:r>
          </a:p>
          <a:p>
            <a:endParaRPr lang="nl-NL" sz="2000" dirty="0"/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E3144FA5-E3CA-9DC1-0482-5038AC32C783}"/>
              </a:ext>
            </a:extLst>
          </p:cNvPr>
          <p:cNvGrpSpPr/>
          <p:nvPr/>
        </p:nvGrpSpPr>
        <p:grpSpPr>
          <a:xfrm>
            <a:off x="4829359" y="1185582"/>
            <a:ext cx="7053109" cy="2577825"/>
            <a:chOff x="4829359" y="1185582"/>
            <a:chExt cx="7053109" cy="2577825"/>
          </a:xfrm>
        </p:grpSpPr>
        <p:pic>
          <p:nvPicPr>
            <p:cNvPr id="5" name="Afbeelding 4">
              <a:extLst>
                <a:ext uri="{FF2B5EF4-FFF2-40B4-BE49-F238E27FC236}">
                  <a16:creationId xmlns:a16="http://schemas.microsoft.com/office/drawing/2014/main" id="{4956B060-9C94-2639-D2DB-A80897E4A71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829359" y="1185582"/>
              <a:ext cx="6903714" cy="2243418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  <p:sp>
          <p:nvSpPr>
            <p:cNvPr id="6" name="Tekstvak 5">
              <a:extLst>
                <a:ext uri="{FF2B5EF4-FFF2-40B4-BE49-F238E27FC236}">
                  <a16:creationId xmlns:a16="http://schemas.microsoft.com/office/drawing/2014/main" id="{AE37694C-39E4-39EA-7899-D6446732F389}"/>
                </a:ext>
              </a:extLst>
            </p:cNvPr>
            <p:cNvSpPr txBox="1"/>
            <p:nvPr/>
          </p:nvSpPr>
          <p:spPr>
            <a:xfrm>
              <a:off x="7167716" y="3455630"/>
              <a:ext cx="47147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>
                  <a:solidFill>
                    <a:srgbClr val="656565"/>
                  </a:solidFill>
                </a:rPr>
                <a:t>Monthly registrations and deletes (dark color are deletes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93565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C825B9-0A48-664E-A43C-4C50636E9D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Privacy </a:t>
            </a:r>
            <a:r>
              <a:rPr lang="nl-NL" err="1"/>
              <a:t>Considerations</a:t>
            </a:r>
            <a:endParaRPr lang="nl-NL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8D7D2A78-5B3B-544F-AF83-FB1C11A9D3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anchor="t"/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l-NL" sz="2000" dirty="0"/>
              <a:t>We do </a:t>
            </a:r>
            <a:r>
              <a:rPr lang="nl-NL" sz="2000" dirty="0" err="1"/>
              <a:t>not</a:t>
            </a:r>
            <a:r>
              <a:rPr lang="nl-NL" sz="2000" dirty="0"/>
              <a:t> </a:t>
            </a:r>
            <a:r>
              <a:rPr lang="nl-NL" sz="2000" dirty="0" err="1"/>
              <a:t>capture</a:t>
            </a:r>
            <a:r>
              <a:rPr lang="nl-NL" sz="2000" dirty="0"/>
              <a:t> or analyse mail content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l-NL" sz="2000" dirty="0"/>
              <a:t>PII information (registrant email </a:t>
            </a:r>
            <a:r>
              <a:rPr lang="nl-NL" sz="2000" dirty="0" err="1"/>
              <a:t>address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name) are </a:t>
            </a:r>
            <a:r>
              <a:rPr lang="nl-NL" sz="2000" dirty="0" err="1"/>
              <a:t>deleted</a:t>
            </a:r>
            <a:r>
              <a:rPr lang="nl-NL" sz="2000" dirty="0"/>
              <a:t> </a:t>
            </a:r>
            <a:r>
              <a:rPr lang="nl-NL" sz="2000" dirty="0" err="1"/>
              <a:t>after</a:t>
            </a:r>
            <a:r>
              <a:rPr lang="nl-NL" sz="2000" dirty="0"/>
              <a:t> </a:t>
            </a:r>
            <a:r>
              <a:rPr lang="nl-NL" sz="2000" dirty="0" err="1"/>
              <a:t>quarantine</a:t>
            </a:r>
            <a:r>
              <a:rPr lang="nl-NL" sz="2000" dirty="0"/>
              <a:t> </a:t>
            </a:r>
            <a:r>
              <a:rPr lang="nl-NL" sz="2000" dirty="0" err="1"/>
              <a:t>period</a:t>
            </a:r>
            <a:endParaRPr lang="nl-NL" sz="2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l-NL" sz="2000" dirty="0"/>
              <a:t>No </a:t>
            </a:r>
            <a:r>
              <a:rPr lang="nl-NL" sz="2000" dirty="0" err="1"/>
              <a:t>trackers</a:t>
            </a:r>
            <a:r>
              <a:rPr lang="nl-NL" sz="2000" dirty="0"/>
              <a:t> in email alert sent </a:t>
            </a:r>
            <a:r>
              <a:rPr lang="nl-NL" sz="2000" dirty="0" err="1"/>
              <a:t>to</a:t>
            </a:r>
            <a:r>
              <a:rPr lang="nl-NL" sz="2000" dirty="0"/>
              <a:t> registrant</a:t>
            </a:r>
          </a:p>
          <a:p>
            <a:endParaRPr lang="nl-NL" sz="2000" dirty="0"/>
          </a:p>
          <a:p>
            <a:endParaRPr lang="nl-NL" sz="2000" dirty="0"/>
          </a:p>
          <a:p>
            <a:endParaRPr lang="nl-NL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2000" dirty="0"/>
          </a:p>
          <a:p>
            <a:endParaRPr lang="nl-NL" sz="2000" dirty="0"/>
          </a:p>
        </p:txBody>
      </p:sp>
    </p:spTree>
    <p:extLst>
      <p:ext uri="{BB962C8B-B14F-4D97-AF65-F5344CB8AC3E}">
        <p14:creationId xmlns:p14="http://schemas.microsoft.com/office/powerpoint/2010/main" val="3898019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DCEC5C-EA23-7540-8585-6A9847C81E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ystem </a:t>
            </a:r>
            <a:r>
              <a:rPr lang="nl-NL" dirty="0" err="1"/>
              <a:t>Process</a:t>
            </a:r>
            <a:endParaRPr lang="nl-NL" dirty="0"/>
          </a:p>
        </p:txBody>
      </p:sp>
      <p:sp>
        <p:nvSpPr>
          <p:cNvPr id="49" name="Tijdelijke aanduiding voor verticale tekst 48">
            <a:extLst>
              <a:ext uri="{FF2B5EF4-FFF2-40B4-BE49-F238E27FC236}">
                <a16:creationId xmlns:a16="http://schemas.microsoft.com/office/drawing/2014/main" id="{41BB5FB9-A6D7-2141-9E69-CCD80F5669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anchor="t"/>
          <a:lstStyle/>
          <a:p>
            <a:endParaRPr lang="nl-NL" sz="2000" dirty="0"/>
          </a:p>
        </p:txBody>
      </p:sp>
      <p:sp>
        <p:nvSpPr>
          <p:cNvPr id="4" name="Afgeronde rechthoek 3">
            <a:extLst>
              <a:ext uri="{FF2B5EF4-FFF2-40B4-BE49-F238E27FC236}">
                <a16:creationId xmlns:a16="http://schemas.microsoft.com/office/drawing/2014/main" id="{FAE424F3-AE0B-BF42-B09B-3CF1BEF1666E}"/>
              </a:ext>
            </a:extLst>
          </p:cNvPr>
          <p:cNvSpPr/>
          <p:nvPr/>
        </p:nvSpPr>
        <p:spPr>
          <a:xfrm>
            <a:off x="2570435" y="2036189"/>
            <a:ext cx="1527143" cy="933253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/>
              <a:t>Collect </a:t>
            </a:r>
          </a:p>
          <a:p>
            <a:pPr algn="ctr"/>
            <a:r>
              <a:rPr lang="nl-NL" sz="1400" err="1"/>
              <a:t>deleted</a:t>
            </a:r>
            <a:r>
              <a:rPr lang="nl-NL" sz="1400"/>
              <a:t> </a:t>
            </a:r>
            <a:r>
              <a:rPr lang="nl-NL" sz="1400" err="1"/>
              <a:t>domains</a:t>
            </a:r>
            <a:endParaRPr lang="nl-NL" sz="1400"/>
          </a:p>
        </p:txBody>
      </p:sp>
      <p:sp>
        <p:nvSpPr>
          <p:cNvPr id="5" name="Afgeronde rechthoek 4">
            <a:extLst>
              <a:ext uri="{FF2B5EF4-FFF2-40B4-BE49-F238E27FC236}">
                <a16:creationId xmlns:a16="http://schemas.microsoft.com/office/drawing/2014/main" id="{17C08BDF-9E59-9B49-8405-973F1CD9E940}"/>
              </a:ext>
            </a:extLst>
          </p:cNvPr>
          <p:cNvSpPr/>
          <p:nvPr/>
        </p:nvSpPr>
        <p:spPr>
          <a:xfrm>
            <a:off x="782310" y="2036189"/>
            <a:ext cx="1527143" cy="933253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err="1"/>
              <a:t>Create</a:t>
            </a:r>
            <a:r>
              <a:rPr lang="nl-NL" sz="1400"/>
              <a:t> </a:t>
            </a:r>
            <a:r>
              <a:rPr lang="nl-NL" sz="1400" err="1"/>
              <a:t>dynamic</a:t>
            </a:r>
            <a:r>
              <a:rPr lang="nl-NL" sz="1400"/>
              <a:t> </a:t>
            </a:r>
          </a:p>
          <a:p>
            <a:pPr algn="ctr"/>
            <a:r>
              <a:rPr lang="nl-NL" sz="1400"/>
              <a:t>filters</a:t>
            </a:r>
          </a:p>
        </p:txBody>
      </p:sp>
      <p:sp>
        <p:nvSpPr>
          <p:cNvPr id="6" name="Afgeronde rechthoek 5">
            <a:extLst>
              <a:ext uri="{FF2B5EF4-FFF2-40B4-BE49-F238E27FC236}">
                <a16:creationId xmlns:a16="http://schemas.microsoft.com/office/drawing/2014/main" id="{E5EEA3B8-FBBE-5F44-B51E-54A5509C8D61}"/>
              </a:ext>
            </a:extLst>
          </p:cNvPr>
          <p:cNvSpPr/>
          <p:nvPr/>
        </p:nvSpPr>
        <p:spPr>
          <a:xfrm>
            <a:off x="4358560" y="2036189"/>
            <a:ext cx="1527143" cy="933253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err="1"/>
              <a:t>Analyze</a:t>
            </a:r>
            <a:r>
              <a:rPr lang="nl-NL" sz="1400"/>
              <a:t> </a:t>
            </a:r>
          </a:p>
          <a:p>
            <a:pPr algn="ctr"/>
            <a:r>
              <a:rPr lang="nl-NL" sz="1400"/>
              <a:t>data</a:t>
            </a:r>
          </a:p>
        </p:txBody>
      </p:sp>
      <p:sp>
        <p:nvSpPr>
          <p:cNvPr id="7" name="Afgeronde rechthoek 6">
            <a:extLst>
              <a:ext uri="{FF2B5EF4-FFF2-40B4-BE49-F238E27FC236}">
                <a16:creationId xmlns:a16="http://schemas.microsoft.com/office/drawing/2014/main" id="{0A0C4F7D-97A0-2245-9DE1-8395A0BCEFF4}"/>
              </a:ext>
            </a:extLst>
          </p:cNvPr>
          <p:cNvSpPr/>
          <p:nvPr/>
        </p:nvSpPr>
        <p:spPr>
          <a:xfrm>
            <a:off x="6146685" y="2036189"/>
            <a:ext cx="1527143" cy="933253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err="1"/>
              <a:t>Create</a:t>
            </a:r>
            <a:r>
              <a:rPr lang="nl-NL" sz="1400"/>
              <a:t> </a:t>
            </a:r>
          </a:p>
          <a:p>
            <a:pPr algn="ctr"/>
            <a:r>
              <a:rPr lang="nl-NL" sz="1400"/>
              <a:t>alerts</a:t>
            </a:r>
          </a:p>
        </p:txBody>
      </p:sp>
      <p:sp>
        <p:nvSpPr>
          <p:cNvPr id="8" name="Afgeronde rechthoek 7">
            <a:extLst>
              <a:ext uri="{FF2B5EF4-FFF2-40B4-BE49-F238E27FC236}">
                <a16:creationId xmlns:a16="http://schemas.microsoft.com/office/drawing/2014/main" id="{F55D2AA8-A645-5C47-8DB3-BBD94278B80C}"/>
              </a:ext>
            </a:extLst>
          </p:cNvPr>
          <p:cNvSpPr/>
          <p:nvPr/>
        </p:nvSpPr>
        <p:spPr>
          <a:xfrm>
            <a:off x="7934810" y="2036189"/>
            <a:ext cx="1527143" cy="933253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err="1"/>
              <a:t>Send</a:t>
            </a:r>
            <a:r>
              <a:rPr lang="nl-NL" sz="1400"/>
              <a:t> </a:t>
            </a:r>
          </a:p>
          <a:p>
            <a:pPr algn="ctr"/>
            <a:r>
              <a:rPr lang="nl-NL" sz="1400"/>
              <a:t>alerts</a:t>
            </a:r>
          </a:p>
        </p:txBody>
      </p:sp>
      <p:sp>
        <p:nvSpPr>
          <p:cNvPr id="9" name="Afgeronde rechthoek 8">
            <a:extLst>
              <a:ext uri="{FF2B5EF4-FFF2-40B4-BE49-F238E27FC236}">
                <a16:creationId xmlns:a16="http://schemas.microsoft.com/office/drawing/2014/main" id="{EF4F481A-5132-9C4F-A943-5D3FE0D93D9D}"/>
              </a:ext>
            </a:extLst>
          </p:cNvPr>
          <p:cNvSpPr/>
          <p:nvPr/>
        </p:nvSpPr>
        <p:spPr>
          <a:xfrm>
            <a:off x="9722934" y="2036189"/>
            <a:ext cx="1527143" cy="933253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err="1"/>
              <a:t>Anonymize</a:t>
            </a:r>
            <a:r>
              <a:rPr lang="nl-NL" sz="1400"/>
              <a:t> </a:t>
            </a:r>
          </a:p>
          <a:p>
            <a:pPr algn="ctr"/>
            <a:r>
              <a:rPr lang="nl-NL" sz="1400"/>
              <a:t>data</a:t>
            </a:r>
          </a:p>
        </p:txBody>
      </p:sp>
      <p:cxnSp>
        <p:nvCxnSpPr>
          <p:cNvPr id="28" name="Rechte verbindingslijn met pijl 27">
            <a:extLst>
              <a:ext uri="{FF2B5EF4-FFF2-40B4-BE49-F238E27FC236}">
                <a16:creationId xmlns:a16="http://schemas.microsoft.com/office/drawing/2014/main" id="{2BABBE69-F4A5-554F-BACA-05C50E0177E2}"/>
              </a:ext>
            </a:extLst>
          </p:cNvPr>
          <p:cNvCxnSpPr>
            <a:cxnSpLocks/>
            <a:stCxn id="5" idx="3"/>
            <a:endCxn id="4" idx="1"/>
          </p:cNvCxnSpPr>
          <p:nvPr/>
        </p:nvCxnSpPr>
        <p:spPr>
          <a:xfrm>
            <a:off x="2309453" y="2502816"/>
            <a:ext cx="260982" cy="0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echte verbindingslijn met pijl 28">
            <a:extLst>
              <a:ext uri="{FF2B5EF4-FFF2-40B4-BE49-F238E27FC236}">
                <a16:creationId xmlns:a16="http://schemas.microsoft.com/office/drawing/2014/main" id="{97829259-32E9-0941-8A26-4BC710FA9711}"/>
              </a:ext>
            </a:extLst>
          </p:cNvPr>
          <p:cNvCxnSpPr/>
          <p:nvPr/>
        </p:nvCxnSpPr>
        <p:spPr>
          <a:xfrm>
            <a:off x="4097577" y="2502815"/>
            <a:ext cx="260982" cy="0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chte verbindingslijn met pijl 29">
            <a:extLst>
              <a:ext uri="{FF2B5EF4-FFF2-40B4-BE49-F238E27FC236}">
                <a16:creationId xmlns:a16="http://schemas.microsoft.com/office/drawing/2014/main" id="{7194E739-7C59-2046-AF75-CF3B568DB5A8}"/>
              </a:ext>
            </a:extLst>
          </p:cNvPr>
          <p:cNvCxnSpPr/>
          <p:nvPr/>
        </p:nvCxnSpPr>
        <p:spPr>
          <a:xfrm>
            <a:off x="5885703" y="2502815"/>
            <a:ext cx="260982" cy="0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chte verbindingslijn met pijl 30">
            <a:extLst>
              <a:ext uri="{FF2B5EF4-FFF2-40B4-BE49-F238E27FC236}">
                <a16:creationId xmlns:a16="http://schemas.microsoft.com/office/drawing/2014/main" id="{5D225245-3FF5-A54B-8ECB-313FD2487A70}"/>
              </a:ext>
            </a:extLst>
          </p:cNvPr>
          <p:cNvCxnSpPr/>
          <p:nvPr/>
        </p:nvCxnSpPr>
        <p:spPr>
          <a:xfrm>
            <a:off x="7673828" y="2480819"/>
            <a:ext cx="260982" cy="0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chte verbindingslijn met pijl 31">
            <a:extLst>
              <a:ext uri="{FF2B5EF4-FFF2-40B4-BE49-F238E27FC236}">
                <a16:creationId xmlns:a16="http://schemas.microsoft.com/office/drawing/2014/main" id="{DBA8FC8B-B88C-3646-ADFA-C9B573C9673E}"/>
              </a:ext>
            </a:extLst>
          </p:cNvPr>
          <p:cNvCxnSpPr/>
          <p:nvPr/>
        </p:nvCxnSpPr>
        <p:spPr>
          <a:xfrm>
            <a:off x="9461953" y="2468250"/>
            <a:ext cx="260982" cy="0"/>
          </a:xfrm>
          <a:prstGeom prst="straightConnector1">
            <a:avLst/>
          </a:prstGeom>
          <a:ln w="381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kstvak 43">
            <a:extLst>
              <a:ext uri="{FF2B5EF4-FFF2-40B4-BE49-F238E27FC236}">
                <a16:creationId xmlns:a16="http://schemas.microsoft.com/office/drawing/2014/main" id="{857096D0-1674-704D-BD86-98E2964FE4E8}"/>
              </a:ext>
            </a:extLst>
          </p:cNvPr>
          <p:cNvSpPr txBox="1"/>
          <p:nvPr/>
        </p:nvSpPr>
        <p:spPr>
          <a:xfrm>
            <a:off x="782310" y="3242434"/>
            <a:ext cx="11256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400">
                <a:solidFill>
                  <a:schemeClr val="tx1">
                    <a:lumMod val="50000"/>
                    <a:lumOff val="50000"/>
                  </a:schemeClr>
                </a:solidFill>
              </a:rPr>
              <a:t>DNS data</a:t>
            </a:r>
          </a:p>
          <a:p>
            <a:r>
              <a:rPr lang="nl-NL" sz="1400" err="1">
                <a:solidFill>
                  <a:schemeClr val="tx1">
                    <a:lumMod val="50000"/>
                    <a:lumOff val="50000"/>
                  </a:schemeClr>
                </a:solidFill>
              </a:rPr>
              <a:t>Abuse</a:t>
            </a:r>
            <a:r>
              <a:rPr lang="nl-NL" sz="1400">
                <a:solidFill>
                  <a:schemeClr val="tx1">
                    <a:lumMod val="50000"/>
                    <a:lumOff val="50000"/>
                  </a:schemeClr>
                </a:solidFill>
              </a:rPr>
              <a:t> feeds</a:t>
            </a:r>
          </a:p>
        </p:txBody>
      </p:sp>
      <p:sp>
        <p:nvSpPr>
          <p:cNvPr id="45" name="Tekstvak 44">
            <a:extLst>
              <a:ext uri="{FF2B5EF4-FFF2-40B4-BE49-F238E27FC236}">
                <a16:creationId xmlns:a16="http://schemas.microsoft.com/office/drawing/2014/main" id="{7C60965C-5342-7B46-B2D8-08BB38AC4758}"/>
              </a:ext>
            </a:extLst>
          </p:cNvPr>
          <p:cNvSpPr txBox="1"/>
          <p:nvPr/>
        </p:nvSpPr>
        <p:spPr>
          <a:xfrm>
            <a:off x="2570435" y="3242434"/>
            <a:ext cx="117852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400" b="1">
                <a:solidFill>
                  <a:schemeClr val="tx1">
                    <a:lumMod val="50000"/>
                    <a:lumOff val="50000"/>
                  </a:schemeClr>
                </a:solidFill>
              </a:rPr>
              <a:t>D</a:t>
            </a:r>
            <a:r>
              <a:rPr lang="nl-NL" sz="1400">
                <a:solidFill>
                  <a:schemeClr val="tx1">
                    <a:lumMod val="50000"/>
                    <a:lumOff val="50000"/>
                  </a:schemeClr>
                </a:solidFill>
              </a:rPr>
              <a:t>omain</a:t>
            </a:r>
          </a:p>
          <a:p>
            <a:r>
              <a:rPr lang="nl-NL" sz="1400" b="1" err="1">
                <a:solidFill>
                  <a:schemeClr val="tx1">
                    <a:lumMod val="50000"/>
                    <a:lumOff val="50000"/>
                  </a:schemeClr>
                </a:solidFill>
              </a:rPr>
              <a:t>R</a:t>
            </a:r>
            <a:r>
              <a:rPr lang="nl-NL" sz="1400" err="1">
                <a:solidFill>
                  <a:schemeClr val="tx1">
                    <a:lumMod val="50000"/>
                    <a:lumOff val="50000"/>
                  </a:schemeClr>
                </a:solidFill>
              </a:rPr>
              <a:t>egistration</a:t>
            </a:r>
            <a:endParaRPr lang="nl-NL" sz="140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nl-NL" sz="1400" b="1">
                <a:solidFill>
                  <a:schemeClr val="tx1">
                    <a:lumMod val="50000"/>
                    <a:lumOff val="50000"/>
                  </a:schemeClr>
                </a:solidFill>
              </a:rPr>
              <a:t>S</a:t>
            </a:r>
            <a:r>
              <a:rPr lang="nl-NL" sz="1400">
                <a:solidFill>
                  <a:schemeClr val="tx1">
                    <a:lumMod val="50000"/>
                    <a:lumOff val="50000"/>
                  </a:schemeClr>
                </a:solidFill>
              </a:rPr>
              <a:t>ystem</a:t>
            </a:r>
          </a:p>
        </p:txBody>
      </p:sp>
      <p:sp>
        <p:nvSpPr>
          <p:cNvPr id="46" name="Tekstvak 45">
            <a:extLst>
              <a:ext uri="{FF2B5EF4-FFF2-40B4-BE49-F238E27FC236}">
                <a16:creationId xmlns:a16="http://schemas.microsoft.com/office/drawing/2014/main" id="{0E7905BF-95F2-D74C-A65E-E5011AFCF419}"/>
              </a:ext>
            </a:extLst>
          </p:cNvPr>
          <p:cNvSpPr txBox="1"/>
          <p:nvPr/>
        </p:nvSpPr>
        <p:spPr>
          <a:xfrm>
            <a:off x="4344245" y="3242434"/>
            <a:ext cx="165942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ter DNS </a:t>
            </a:r>
            <a:r>
              <a:rPr lang="nl-NL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queries</a:t>
            </a:r>
            <a:endParaRPr lang="nl-NL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nl-NL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ing DNS </a:t>
            </a:r>
            <a:r>
              <a:rPr lang="nl-NL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nd</a:t>
            </a:r>
            <a:endParaRPr lang="nl-NL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nl-NL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ebcrawler</a:t>
            </a:r>
            <a:r>
              <a:rPr lang="nl-NL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ata</a:t>
            </a:r>
          </a:p>
        </p:txBody>
      </p:sp>
      <p:sp>
        <p:nvSpPr>
          <p:cNvPr id="47" name="Tekstvak 46">
            <a:extLst>
              <a:ext uri="{FF2B5EF4-FFF2-40B4-BE49-F238E27FC236}">
                <a16:creationId xmlns:a16="http://schemas.microsoft.com/office/drawing/2014/main" id="{5F2EFA45-DBEB-4C46-8873-90914E400CF9}"/>
              </a:ext>
            </a:extLst>
          </p:cNvPr>
          <p:cNvSpPr txBox="1"/>
          <p:nvPr/>
        </p:nvSpPr>
        <p:spPr>
          <a:xfrm>
            <a:off x="6146684" y="3242434"/>
            <a:ext cx="129715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400">
                <a:solidFill>
                  <a:schemeClr val="tx1">
                    <a:lumMod val="50000"/>
                    <a:lumOff val="50000"/>
                  </a:schemeClr>
                </a:solidFill>
              </a:rPr>
              <a:t>Scoring </a:t>
            </a:r>
            <a:r>
              <a:rPr lang="nl-NL" sz="1400" err="1">
                <a:solidFill>
                  <a:schemeClr val="tx1">
                    <a:lumMod val="50000"/>
                    <a:lumOff val="50000"/>
                  </a:schemeClr>
                </a:solidFill>
              </a:rPr>
              <a:t>rules</a:t>
            </a:r>
            <a:endParaRPr lang="nl-NL" sz="140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nl-NL" sz="1400">
                <a:solidFill>
                  <a:schemeClr val="tx1">
                    <a:lumMod val="50000"/>
                    <a:lumOff val="50000"/>
                  </a:schemeClr>
                </a:solidFill>
              </a:rPr>
              <a:t>Analyzer </a:t>
            </a:r>
            <a:r>
              <a:rPr lang="nl-NL" sz="1400" err="1">
                <a:solidFill>
                  <a:schemeClr val="tx1">
                    <a:lumMod val="50000"/>
                    <a:lumOff val="50000"/>
                  </a:schemeClr>
                </a:solidFill>
              </a:rPr>
              <a:t>stats</a:t>
            </a:r>
            <a:endParaRPr lang="nl-NL" sz="14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08237605-E6E8-F845-AFCE-5BDDCC948F82}"/>
              </a:ext>
            </a:extLst>
          </p:cNvPr>
          <p:cNvSpPr txBox="1"/>
          <p:nvPr/>
        </p:nvSpPr>
        <p:spPr>
          <a:xfrm>
            <a:off x="7934810" y="3242434"/>
            <a:ext cx="157607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Notify</a:t>
            </a:r>
            <a:r>
              <a:rPr lang="nl-NL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nl-NL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egistrants</a:t>
            </a:r>
            <a:endParaRPr lang="nl-NL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nl-NL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0B03E8C3-2009-AF4A-992B-9CEAFE4D6C70}"/>
              </a:ext>
            </a:extLst>
          </p:cNvPr>
          <p:cNvSpPr txBox="1"/>
          <p:nvPr/>
        </p:nvSpPr>
        <p:spPr>
          <a:xfrm>
            <a:off x="9756142" y="3242434"/>
            <a:ext cx="148630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istrant</a:t>
            </a:r>
          </a:p>
          <a:p>
            <a:pPr marL="285750" indent="-285750">
              <a:buFontTx/>
              <a:buChar char="-"/>
            </a:pPr>
            <a:r>
              <a:rPr lang="nl-NL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ame</a:t>
            </a:r>
          </a:p>
          <a:p>
            <a:pPr marL="285750" indent="-285750">
              <a:buFontTx/>
              <a:buChar char="-"/>
            </a:pPr>
            <a:r>
              <a:rPr lang="nl-NL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il </a:t>
            </a:r>
            <a:r>
              <a:rPr lang="nl-NL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ddress</a:t>
            </a:r>
            <a:endParaRPr lang="nl-NL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009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4FE5F4-248D-549D-10FB-1F807E72F6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Filters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88EA1348-4C7E-D9D4-1F33-F6B4389412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46570" y="1092201"/>
            <a:ext cx="11274147" cy="4680000"/>
          </a:xfrm>
        </p:spPr>
        <p:txBody>
          <a:bodyPr anchor="t"/>
          <a:lstStyle/>
          <a:p>
            <a:r>
              <a:rPr lang="nl-NL" sz="2000" b="1" dirty="0"/>
              <a:t>Multiple filters </a:t>
            </a:r>
            <a:r>
              <a:rPr lang="nl-NL" sz="2000" b="1" dirty="0" err="1"/>
              <a:t>used</a:t>
            </a:r>
            <a:r>
              <a:rPr lang="nl-NL" sz="2000" b="1" dirty="0"/>
              <a:t> </a:t>
            </a:r>
            <a:r>
              <a:rPr lang="nl-NL" sz="2000" b="1" dirty="0" err="1"/>
              <a:t>to</a:t>
            </a:r>
            <a:r>
              <a:rPr lang="nl-NL" sz="2000" b="1" dirty="0"/>
              <a:t> </a:t>
            </a:r>
            <a:r>
              <a:rPr lang="nl-NL" sz="2000" b="1" dirty="0" err="1"/>
              <a:t>remove</a:t>
            </a:r>
            <a:r>
              <a:rPr lang="nl-NL" sz="2000" b="1" dirty="0"/>
              <a:t> ”</a:t>
            </a:r>
            <a:r>
              <a:rPr lang="nl-NL" sz="2000" b="1" dirty="0" err="1"/>
              <a:t>noise</a:t>
            </a:r>
            <a:r>
              <a:rPr lang="nl-NL" sz="2400" b="1" dirty="0"/>
              <a:t>”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Spam, marketing, </a:t>
            </a:r>
            <a:r>
              <a:rPr lang="nl-NL" sz="2000" dirty="0" err="1"/>
              <a:t>social</a:t>
            </a:r>
            <a:r>
              <a:rPr lang="nl-NL" sz="2000" dirty="0"/>
              <a:t> media</a:t>
            </a:r>
          </a:p>
          <a:p>
            <a:endParaRPr lang="nl-NL" sz="2000" dirty="0"/>
          </a:p>
          <a:p>
            <a:r>
              <a:rPr lang="nl-NL" sz="2000" b="1" dirty="0"/>
              <a:t>Filters </a:t>
            </a:r>
            <a:r>
              <a:rPr lang="nl-NL" sz="2000" b="1" dirty="0" err="1"/>
              <a:t>based</a:t>
            </a:r>
            <a:r>
              <a:rPr lang="nl-NL" sz="2000" b="1" dirty="0"/>
              <a:t> on DNS </a:t>
            </a:r>
            <a:r>
              <a:rPr lang="nl-NL" sz="2000" b="1" dirty="0" err="1"/>
              <a:t>request</a:t>
            </a:r>
            <a:r>
              <a:rPr lang="nl-NL" sz="2000" b="1" dirty="0"/>
              <a:t> </a:t>
            </a:r>
            <a:r>
              <a:rPr lang="nl-NL" sz="2000" b="1" dirty="0" err="1"/>
              <a:t>attributes</a:t>
            </a:r>
            <a:r>
              <a:rPr lang="nl-NL" sz="2000" b="1" dirty="0"/>
              <a:t>,  </a:t>
            </a:r>
            <a:r>
              <a:rPr lang="nl-NL" sz="2000" b="1" dirty="0" err="1"/>
              <a:t>for</a:t>
            </a:r>
            <a:r>
              <a:rPr lang="nl-NL" sz="2000" b="1" dirty="0"/>
              <a:t> </a:t>
            </a:r>
            <a:r>
              <a:rPr lang="nl-NL" sz="2000" b="1" dirty="0" err="1"/>
              <a:t>example</a:t>
            </a:r>
            <a:endParaRPr lang="nl-NL" sz="20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b="1" dirty="0"/>
              <a:t>ASN</a:t>
            </a:r>
            <a:r>
              <a:rPr lang="nl-NL" sz="2000" dirty="0"/>
              <a:t>: filter </a:t>
            </a:r>
            <a:r>
              <a:rPr lang="nl-NL" sz="2000" dirty="0" err="1"/>
              <a:t>queries</a:t>
            </a:r>
            <a:r>
              <a:rPr lang="nl-NL" sz="2000" dirty="0"/>
              <a:t> </a:t>
            </a:r>
            <a:r>
              <a:rPr lang="nl-NL" sz="2000" dirty="0" err="1"/>
              <a:t>from</a:t>
            </a:r>
            <a:r>
              <a:rPr lang="nl-NL" sz="2000" dirty="0"/>
              <a:t> </a:t>
            </a:r>
            <a:r>
              <a:rPr lang="nl-NL" sz="2000" dirty="0" err="1"/>
              <a:t>autonomous</a:t>
            </a:r>
            <a:r>
              <a:rPr lang="nl-NL" sz="2000" dirty="0"/>
              <a:t> system</a:t>
            </a:r>
          </a:p>
          <a:p>
            <a:pPr lvl="3"/>
            <a:r>
              <a:rPr lang="nl-NL" sz="2000" dirty="0"/>
              <a:t>Mail marketing company, Facebook </a:t>
            </a:r>
          </a:p>
          <a:p>
            <a:pPr marL="161925" lvl="1" indent="-342900">
              <a:buFont typeface="Arial" panose="020B0604020202020204" pitchFamily="34" charset="0"/>
              <a:buChar char="•"/>
            </a:pPr>
            <a:r>
              <a:rPr lang="nl-NL" sz="2000" b="1" kern="1200" dirty="0">
                <a:solidFill>
                  <a:srgbClr val="656565"/>
                </a:solidFill>
                <a:latin typeface="+mn-lt"/>
                <a:ea typeface="+mn-ea"/>
                <a:cs typeface="+mn-cs"/>
              </a:rPr>
              <a:t>High </a:t>
            </a:r>
            <a:r>
              <a:rPr lang="nl-NL" sz="2000" b="1" kern="1200" dirty="0" err="1">
                <a:solidFill>
                  <a:srgbClr val="656565"/>
                </a:solidFill>
                <a:latin typeface="+mn-lt"/>
                <a:ea typeface="+mn-ea"/>
                <a:cs typeface="+mn-cs"/>
              </a:rPr>
              <a:t>Nxdomain</a:t>
            </a:r>
            <a:r>
              <a:rPr lang="nl-NL" sz="2000" dirty="0"/>
              <a:t>: DNS </a:t>
            </a:r>
            <a:r>
              <a:rPr lang="nl-NL" sz="2000" dirty="0" err="1"/>
              <a:t>resolvers</a:t>
            </a:r>
            <a:r>
              <a:rPr lang="nl-NL" sz="2000" dirty="0"/>
              <a:t> </a:t>
            </a:r>
            <a:r>
              <a:rPr lang="nl-NL" sz="2000" dirty="0" err="1"/>
              <a:t>having</a:t>
            </a:r>
            <a:r>
              <a:rPr lang="nl-NL" sz="2000" dirty="0"/>
              <a:t> a high ratio of NXDOMAIN</a:t>
            </a:r>
          </a:p>
          <a:p>
            <a:pPr marL="161925" lvl="1" indent="-342900">
              <a:buFont typeface="Arial" panose="020B0604020202020204" pitchFamily="34" charset="0"/>
              <a:buChar char="•"/>
            </a:pPr>
            <a:r>
              <a:rPr lang="nl-NL" sz="2000" b="1" kern="1200" dirty="0" err="1">
                <a:solidFill>
                  <a:srgbClr val="656565"/>
                </a:solidFill>
                <a:latin typeface="+mn-lt"/>
                <a:ea typeface="+mn-ea"/>
                <a:cs typeface="+mn-cs"/>
              </a:rPr>
              <a:t>Newly</a:t>
            </a:r>
            <a:r>
              <a:rPr lang="nl-NL" sz="2000" b="1" kern="1200" dirty="0">
                <a:solidFill>
                  <a:srgbClr val="656565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2000" b="1" kern="1200" dirty="0" err="1">
                <a:solidFill>
                  <a:srgbClr val="656565"/>
                </a:solidFill>
                <a:latin typeface="+mn-lt"/>
                <a:ea typeface="+mn-ea"/>
                <a:cs typeface="+mn-cs"/>
              </a:rPr>
              <a:t>Seen</a:t>
            </a:r>
            <a:r>
              <a:rPr lang="nl-NL" sz="2000" b="1" kern="1200" dirty="0">
                <a:solidFill>
                  <a:srgbClr val="656565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2000" b="1" kern="1200" dirty="0" err="1">
                <a:solidFill>
                  <a:srgbClr val="656565"/>
                </a:solidFill>
                <a:latin typeface="+mn-lt"/>
                <a:ea typeface="+mn-ea"/>
                <a:cs typeface="+mn-cs"/>
              </a:rPr>
              <a:t>Ips</a:t>
            </a:r>
            <a:r>
              <a:rPr lang="nl-NL" sz="2000" kern="1200" dirty="0">
                <a:solidFill>
                  <a:srgbClr val="656565"/>
                </a:solidFill>
                <a:latin typeface="+mn-lt"/>
                <a:ea typeface="+mn-ea"/>
                <a:cs typeface="+mn-cs"/>
              </a:rPr>
              <a:t>: IP </a:t>
            </a:r>
            <a:r>
              <a:rPr lang="nl-NL" sz="2000" kern="1200" dirty="0" err="1">
                <a:solidFill>
                  <a:srgbClr val="656565"/>
                </a:solidFill>
                <a:latin typeface="+mn-lt"/>
                <a:ea typeface="+mn-ea"/>
                <a:cs typeface="+mn-cs"/>
              </a:rPr>
              <a:t>addresses</a:t>
            </a:r>
            <a:r>
              <a:rPr lang="nl-NL" sz="2000" kern="1200" dirty="0">
                <a:solidFill>
                  <a:srgbClr val="656565"/>
                </a:solidFill>
                <a:latin typeface="+mn-lt"/>
                <a:ea typeface="+mn-ea"/>
                <a:cs typeface="+mn-cs"/>
              </a:rPr>
              <a:t> of </a:t>
            </a:r>
            <a:r>
              <a:rPr lang="nl-NL" sz="2000" kern="1200" dirty="0" err="1">
                <a:solidFill>
                  <a:srgbClr val="656565"/>
                </a:solidFill>
                <a:latin typeface="+mn-lt"/>
                <a:ea typeface="+mn-ea"/>
                <a:cs typeface="+mn-cs"/>
              </a:rPr>
              <a:t>resolvers</a:t>
            </a:r>
            <a:r>
              <a:rPr lang="nl-NL" sz="2000" kern="1200" dirty="0">
                <a:solidFill>
                  <a:srgbClr val="656565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2000" kern="1200" dirty="0" err="1">
                <a:solidFill>
                  <a:srgbClr val="656565"/>
                </a:solidFill>
                <a:latin typeface="+mn-lt"/>
                <a:ea typeface="+mn-ea"/>
                <a:cs typeface="+mn-cs"/>
              </a:rPr>
              <a:t>that</a:t>
            </a:r>
            <a:r>
              <a:rPr lang="nl-NL" sz="2000" kern="1200" dirty="0">
                <a:solidFill>
                  <a:srgbClr val="656565"/>
                </a:solidFill>
                <a:latin typeface="+mn-lt"/>
                <a:ea typeface="+mn-ea"/>
                <a:cs typeface="+mn-cs"/>
              </a:rPr>
              <a:t> have </a:t>
            </a:r>
            <a:r>
              <a:rPr lang="nl-NL" sz="2000" kern="1200" dirty="0" err="1">
                <a:solidFill>
                  <a:srgbClr val="656565"/>
                </a:solidFill>
                <a:latin typeface="+mn-lt"/>
                <a:ea typeface="+mn-ea"/>
                <a:cs typeface="+mn-cs"/>
              </a:rPr>
              <a:t>not</a:t>
            </a:r>
            <a:r>
              <a:rPr lang="nl-NL" sz="2000" kern="1200" dirty="0">
                <a:solidFill>
                  <a:srgbClr val="656565"/>
                </a:solidFill>
                <a:latin typeface="+mn-lt"/>
                <a:ea typeface="+mn-ea"/>
                <a:cs typeface="+mn-cs"/>
              </a:rPr>
              <a:t> been </a:t>
            </a:r>
            <a:r>
              <a:rPr lang="nl-NL" sz="2000" kern="1200" dirty="0" err="1">
                <a:solidFill>
                  <a:srgbClr val="656565"/>
                </a:solidFill>
                <a:latin typeface="+mn-lt"/>
                <a:ea typeface="+mn-ea"/>
                <a:cs typeface="+mn-cs"/>
              </a:rPr>
              <a:t>seen</a:t>
            </a:r>
            <a:r>
              <a:rPr lang="nl-NL" sz="2000" kern="1200" dirty="0">
                <a:solidFill>
                  <a:srgbClr val="656565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2000" kern="1200" dirty="0" err="1">
                <a:solidFill>
                  <a:srgbClr val="656565"/>
                </a:solidFill>
                <a:latin typeface="+mn-lt"/>
                <a:ea typeface="+mn-ea"/>
                <a:cs typeface="+mn-cs"/>
              </a:rPr>
              <a:t>before</a:t>
            </a:r>
            <a:endParaRPr lang="nl-NL" sz="2000" kern="1200" dirty="0">
              <a:solidFill>
                <a:srgbClr val="656565"/>
              </a:solidFill>
              <a:latin typeface="+mn-lt"/>
              <a:ea typeface="+mn-ea"/>
              <a:cs typeface="+mn-cs"/>
            </a:endParaRPr>
          </a:p>
          <a:p>
            <a:pPr marL="161925" lvl="1" indent="-342900">
              <a:buFontTx/>
              <a:buChar char="-"/>
            </a:pPr>
            <a:endParaRPr lang="nl-NL" sz="2000" kern="1200" dirty="0">
              <a:solidFill>
                <a:srgbClr val="656565"/>
              </a:solidFill>
              <a:latin typeface="+mn-lt"/>
              <a:ea typeface="+mn-ea"/>
              <a:cs typeface="+mn-cs"/>
            </a:endParaRPr>
          </a:p>
          <a:p>
            <a:pPr marL="161925" lvl="1" indent="-342900">
              <a:buFontTx/>
              <a:buChar char="-"/>
            </a:pPr>
            <a:endParaRPr lang="nl-NL" sz="2000" dirty="0"/>
          </a:p>
          <a:p>
            <a:pPr marL="161925" lvl="1" indent="-342900">
              <a:buFontTx/>
              <a:buChar char="-"/>
            </a:pPr>
            <a:endParaRPr lang="nl-NL" sz="2000" dirty="0"/>
          </a:p>
          <a:p>
            <a:pPr marL="0" lvl="2" indent="0">
              <a:buNone/>
            </a:pPr>
            <a:endParaRPr lang="nl-NL" sz="2000" dirty="0"/>
          </a:p>
          <a:p>
            <a:pPr marL="342900" indent="-342900">
              <a:buFontTx/>
              <a:buChar char="-"/>
            </a:pPr>
            <a:endParaRPr lang="nl-NL" sz="2000" dirty="0"/>
          </a:p>
        </p:txBody>
      </p:sp>
    </p:spTree>
    <p:extLst>
      <p:ext uri="{BB962C8B-B14F-4D97-AF65-F5344CB8AC3E}">
        <p14:creationId xmlns:p14="http://schemas.microsoft.com/office/powerpoint/2010/main" val="3229681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81d30f1fbfadb2cab35ac528d10b239959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IDN">
      <a:dk1>
        <a:sysClr val="windowText" lastClr="000000"/>
      </a:dk1>
      <a:lt1>
        <a:sysClr val="window" lastClr="FFFFFF"/>
      </a:lt1>
      <a:dk2>
        <a:srgbClr val="002154"/>
      </a:dk2>
      <a:lt2>
        <a:srgbClr val="0062A9"/>
      </a:lt2>
      <a:accent1>
        <a:srgbClr val="642180"/>
      </a:accent1>
      <a:accent2>
        <a:srgbClr val="1CAACB"/>
      </a:accent2>
      <a:accent3>
        <a:srgbClr val="219550"/>
      </a:accent3>
      <a:accent4>
        <a:srgbClr val="F15936"/>
      </a:accent4>
      <a:accent5>
        <a:srgbClr val="003368"/>
      </a:accent5>
      <a:accent6>
        <a:srgbClr val="00B9B6"/>
      </a:accent6>
      <a:hlink>
        <a:srgbClr val="0062A9"/>
      </a:hlink>
      <a:folHlink>
        <a:srgbClr val="0062A9"/>
      </a:folHlink>
    </a:clrScheme>
    <a:fontScheme name="SIDN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haredContentType xmlns="Microsoft.SharePoint.Taxonomy.ContentTypeSync" SourceId="e801051c-8ff2-4418-89ac-59886105901c" ContentTypeId="0x010100561DD06E28B3584FBFA3C34DC116C1800C" PreviousValue="false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Word" ma:contentTypeID="0x010100561DD06E28B3584FBFA3C34DC116C1800C0026BF656F925F8C4791DB1EC2F5B6247D" ma:contentTypeVersion="4" ma:contentTypeDescription="" ma:contentTypeScope="" ma:versionID="50bbe2de9d8c38b765268c84f99a94d0">
  <xsd:schema xmlns:xsd="http://www.w3.org/2001/XMLSchema" xmlns:xs="http://www.w3.org/2001/XMLSchema" xmlns:p="http://schemas.microsoft.com/office/2006/metadata/properties" xmlns:ns2="65449f65-8689-47e6-aa44-217172c0ae6b" targetNamespace="http://schemas.microsoft.com/office/2006/metadata/properties" ma:root="true" ma:fieldsID="ff471fda01fdd1e93d73974f13abda05" ns2:_="">
    <xsd:import namespace="65449f65-8689-47e6-aa44-217172c0ae6b"/>
    <xsd:element name="properties">
      <xsd:complexType>
        <xsd:sequence>
          <xsd:element name="documentManagement">
            <xsd:complexType>
              <xsd:all>
                <xsd:element ref="ns2:SP_Classification" minOccurs="0"/>
                <xsd:element ref="ns2:SP_Author" minOccurs="0"/>
                <xsd:element ref="ns2:SP_Contact" minOccurs="0"/>
                <xsd:element ref="ns2:SP_DocRef" minOccurs="0"/>
                <xsd:element ref="ns2:SP_ExtraInfo" minOccurs="0"/>
                <xsd:element ref="ns2:SP_DocumentStatus" minOccurs="0"/>
                <xsd:element ref="ns2:SP_Year" minOccurs="0"/>
                <xsd:element ref="ns2:SP_Quarter" minOccurs="0"/>
                <xsd:element ref="ns2:d1539f7a0ecf4237b74565dbfbad77ff" minOccurs="0"/>
                <xsd:element ref="ns2:p55e13f65d2843eeb598ac8370a853af" minOccurs="0"/>
                <xsd:element ref="ns2:TaxCatchAll" minOccurs="0"/>
                <xsd:element ref="ns2:c6ee351b1184471cb2fafcf8596ac576" minOccurs="0"/>
                <xsd:element ref="ns2:m0459b32cb084c9fb4726f92b52b53b0" minOccurs="0"/>
                <xsd:element ref="ns2:TaxCatchAllLabel" minOccurs="0"/>
                <xsd:element ref="ns2:ce7db9954ccc4f5f8f407571f8063f07" minOccurs="0"/>
                <xsd:element ref="ns2:g7535cb0b1cc4036a1846f2dce200e2f" minOccurs="0"/>
                <xsd:element ref="ns2:k4d260258d7849f5a9589900e59b5239" minOccurs="0"/>
                <xsd:element ref="ns2:SP_ArchiveDate" minOccurs="0"/>
                <xsd:element ref="ns2:ModificationDatePreMigr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449f65-8689-47e6-aa44-217172c0ae6b" elementFormDefault="qualified">
    <xsd:import namespace="http://schemas.microsoft.com/office/2006/documentManagement/types"/>
    <xsd:import namespace="http://schemas.microsoft.com/office/infopath/2007/PartnerControls"/>
    <xsd:element name="SP_Classification" ma:index="2" nillable="true" ma:displayName="Classification" ma:default="Internal" ma:format="Dropdown" ma:internalName="SP_Classification" ma:readOnly="false">
      <xsd:simpleType>
        <xsd:restriction base="dms:Choice">
          <xsd:enumeration value="Public"/>
          <xsd:enumeration value="Internal"/>
          <xsd:enumeration value="Classified"/>
          <xsd:enumeration value="Secret"/>
        </xsd:restriction>
      </xsd:simpleType>
    </xsd:element>
    <xsd:element name="SP_Author" ma:index="7" nillable="true" ma:displayName="Author" ma:list="UserInfo" ma:SharePointGroup="0" ma:internalName="SP_Autho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P_Contact" ma:index="8" nillable="true" ma:displayName="Contact" ma:list="UserInfo" ma:SharePointGroup="0" ma:internalName="SP_Contact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P_DocRef" ma:index="9" nillable="true" ma:displayName="DocRef" ma:internalName="SP_DocRef" ma:readOnly="false">
      <xsd:simpleType>
        <xsd:restriction base="dms:Text">
          <xsd:maxLength value="255"/>
        </xsd:restriction>
      </xsd:simpleType>
    </xsd:element>
    <xsd:element name="SP_ExtraInfo" ma:index="10" nillable="true" ma:displayName="Extra Info" ma:internalName="SP_ExtraInfo" ma:readOnly="false">
      <xsd:simpleType>
        <xsd:restriction base="dms:Text">
          <xsd:maxLength value="255"/>
        </xsd:restriction>
      </xsd:simpleType>
    </xsd:element>
    <xsd:element name="SP_DocumentStatus" ma:index="11" nillable="true" ma:displayName="Document Status" ma:default="Draft" ma:format="Dropdown" ma:internalName="SP_DocumentStatus" ma:readOnly="false">
      <xsd:simpleType>
        <xsd:restriction base="dms:Choice">
          <xsd:enumeration value="Draft"/>
          <xsd:enumeration value="Local"/>
          <xsd:enumeration value="Published"/>
        </xsd:restriction>
      </xsd:simpleType>
    </xsd:element>
    <xsd:element name="SP_Year" ma:index="13" nillable="true" ma:displayName="Year" ma:format="Dropdown" ma:internalName="SP_Year" ma:readOnly="false">
      <xsd:simpleType>
        <xsd:restriction base="dms:Choice">
          <xsd:enumeration value="2007"/>
          <xsd:enumeration value="2008"/>
          <xsd:enumeration value="2009"/>
          <xsd:enumeration value="2010"/>
          <xsd:enumeration value="2011"/>
          <xsd:enumeration value="2012"/>
          <xsd:enumeration value="2013"/>
          <xsd:enumeration value="2014"/>
          <xsd:enumeration value="2015"/>
          <xsd:enumeration value="2016"/>
          <xsd:enumeration value="2017"/>
          <xsd:enumeration value="2018"/>
          <xsd:enumeration value="2019"/>
          <xsd:enumeration value="2020"/>
          <xsd:enumeration value="2021"/>
          <xsd:enumeration value="2022"/>
          <xsd:enumeration value="2023"/>
          <xsd:enumeration value="2024"/>
          <xsd:enumeration value="2025"/>
        </xsd:restriction>
      </xsd:simpleType>
    </xsd:element>
    <xsd:element name="SP_Quarter" ma:index="14" nillable="true" ma:displayName="Quarter" ma:format="Dropdown" ma:internalName="SP_Quarter" ma:readOnly="false">
      <xsd:simpleType>
        <xsd:restriction base="dms:Choice">
          <xsd:enumeration value="Q1"/>
          <xsd:enumeration value="Q2"/>
          <xsd:enumeration value="Q3"/>
          <xsd:enumeration value="Q4"/>
        </xsd:restriction>
      </xsd:simpleType>
    </xsd:element>
    <xsd:element name="d1539f7a0ecf4237b74565dbfbad77ff" ma:index="17" nillable="true" ma:taxonomy="true" ma:internalName="d1539f7a0ecf4237b74565dbfbad77ff" ma:taxonomyFieldName="Team" ma:displayName="Team" ma:readOnly="false" ma:default="1;#SIDN|4071a565-5dcc-4a75-ac1f-0b9897da7414" ma:fieldId="{d1539f7a-0ecf-4237-b745-65dbfbad77ff}" ma:sspId="e801051c-8ff2-4418-89ac-59886105901c" ma:termSetId="fefb8b02-2c02-49a4-b1b2-e4f81b12205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55e13f65d2843eeb598ac8370a853af" ma:index="20" nillable="true" ma:taxonomy="true" ma:internalName="p55e13f65d2843eeb598ac8370a853af" ma:taxonomyFieldName="SP_DocumentType" ma:displayName="Document Type" ma:readOnly="false" ma:fieldId="{955e13f6-5d28-43ee-b598-ac8370a853af}" ma:sspId="e801051c-8ff2-4418-89ac-59886105901c" ma:termSetId="4c77c84d-0584-47c2-a438-85df6ea8468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f33c0845-ac37-4ce5-a1d6-2ad3cce7e87e}" ma:internalName="TaxCatchAll" ma:readOnly="false" ma:showField="CatchAllData" ma:web="487f6cde-4b20-420d-aa54-5a3bf31d61b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6ee351b1184471cb2fafcf8596ac576" ma:index="23" nillable="true" ma:taxonomy="true" ma:internalName="c6ee351b1184471cb2fafcf8596ac576" ma:taxonomyFieldName="SP_Searchtags" ma:displayName="Searchtags" ma:readOnly="false" ma:fieldId="{c6ee351b-1184-471c-b2fa-fcf8596ac576}" ma:taxonomyMulti="true" ma:sspId="e801051c-8ff2-4418-89ac-59886105901c" ma:termSetId="a2db928f-8c1d-4fc4-87a3-ba6ae60dd998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m0459b32cb084c9fb4726f92b52b53b0" ma:index="25" nillable="true" ma:taxonomy="true" ma:internalName="m0459b32cb084c9fb4726f92b52b53b0" ma:taxonomyFieldName="SP_InfoCategory" ma:displayName="Information Category" ma:readOnly="false" ma:fieldId="{60459b32-cb08-4c9f-b472-6f92b52b53b0}" ma:sspId="e801051c-8ff2-4418-89ac-59886105901c" ma:termSetId="ca2b7acc-f21a-4d9d-8423-e2b1856f960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Label" ma:index="26" nillable="true" ma:displayName="Taxonomy Catch All Column1" ma:hidden="true" ma:list="{f33c0845-ac37-4ce5-a1d6-2ad3cce7e87e}" ma:internalName="TaxCatchAllLabel" ma:readOnly="true" ma:showField="CatchAllDataLabel" ma:web="487f6cde-4b20-420d-aa54-5a3bf31d61b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e7db9954ccc4f5f8f407571f8063f07" ma:index="28" nillable="true" ma:taxonomy="true" ma:internalName="ce7db9954ccc4f5f8f407571f8063f07" ma:taxonomyFieldName="SP_ArchiveGroup" ma:displayName="Archive Group" ma:readOnly="false" ma:fieldId="{ce7db995-4ccc-4f5f-8f40-7571f8063f07}" ma:sspId="e801051c-8ff2-4418-89ac-59886105901c" ma:termSetId="2c3f5e75-1862-4adf-bcc3-f3cc42ba481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7535cb0b1cc4036a1846f2dce200e2f" ma:index="29" nillable="true" ma:taxonomy="true" ma:internalName="g7535cb0b1cc4036a1846f2dce200e2f" ma:taxonomyFieldName="SP_InfoOwner" ma:displayName="Owner" ma:readOnly="false" ma:fieldId="{07535cb0-b1cc-4036-a184-6f2dce200e2f}" ma:sspId="e801051c-8ff2-4418-89ac-59886105901c" ma:termSetId="7eea982b-ce73-471f-bae3-a2e687c7cc9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4d260258d7849f5a9589900e59b5239" ma:index="30" nillable="true" ma:taxonomy="true" ma:internalName="k4d260258d7849f5a9589900e59b5239" ma:taxonomyFieldName="SP_ArchiveAfter" ma:displayName="Archive  Period" ma:readOnly="false" ma:fieldId="{44d26025-8d78-49f5-a958-9900e59b5239}" ma:sspId="e801051c-8ff2-4418-89ac-59886105901c" ma:termSetId="e0270609-2132-43a1-9aa6-1601cfd3d4b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P_ArchiveDate" ma:index="32" nillable="true" ma:displayName="Archive Date" ma:format="DateOnly" ma:hidden="true" ma:internalName="SP_ArchiveDate" ma:readOnly="false">
      <xsd:simpleType>
        <xsd:restriction base="dms:DateTime"/>
      </xsd:simpleType>
    </xsd:element>
    <xsd:element name="ModificationDatePreMigration" ma:index="33" nillable="true" ma:displayName="ModificationDatePreMigration" ma:description="Modification date before migration" ma:format="DateTime" ma:hidden="true" ma:internalName="ModificationDatePreMigration" ma:readOnly="fals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1" ma:displayName="Inhoudstype"/>
        <xsd:element ref="dc:title" minOccurs="0" maxOccurs="1" ma:index="1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P_ExtraInfo xmlns="65449f65-8689-47e6-aa44-217172c0ae6b">Biweeklies</SP_ExtraInfo>
    <SP_DocRef xmlns="65449f65-8689-47e6-aa44-217172c0ae6b">SIDN Labs-2017.09.18 SIDN Labs Objectives Q4 2017 Update-0.2</SP_DocRef>
    <c6ee351b1184471cb2fafcf8596ac576 xmlns="65449f65-8689-47e6-aa44-217172c0ae6b">
      <Terms xmlns="http://schemas.microsoft.com/office/infopath/2007/PartnerControls"/>
    </c6ee351b1184471cb2fafcf8596ac576>
    <TaxCatchAll xmlns="65449f65-8689-47e6-aa44-217172c0ae6b">
      <Value>2</Value>
      <Value>3</Value>
    </TaxCatchAll>
    <SP_DocumentStatus xmlns="65449f65-8689-47e6-aa44-217172c0ae6b">Draft</SP_DocumentStatus>
    <g7535cb0b1cc4036a1846f2dce200e2f xmlns="65449f65-8689-47e6-aa44-217172c0ae6b">
      <Terms xmlns="http://schemas.microsoft.com/office/infopath/2007/PartnerControls">
        <TermInfo xmlns="http://schemas.microsoft.com/office/infopath/2007/PartnerControls">
          <TermName xmlns="http://schemas.microsoft.com/office/infopath/2007/PartnerControls">SIDN Labs</TermName>
          <TermId xmlns="http://schemas.microsoft.com/office/infopath/2007/PartnerControls">e8c5efe7-93dc-4592-8bc3-567adef5194b</TermId>
        </TermInfo>
      </Terms>
    </g7535cb0b1cc4036a1846f2dce200e2f>
    <ModificationDatePreMigration xmlns="65449f65-8689-47e6-aa44-217172c0ae6b" xsi:nil="true"/>
    <m0459b32cb084c9fb4726f92b52b53b0 xmlns="65449f65-8689-47e6-aa44-217172c0ae6b">
      <Terms xmlns="http://schemas.microsoft.com/office/infopath/2007/PartnerControls"/>
    </m0459b32cb084c9fb4726f92b52b53b0>
    <SP_Classification xmlns="65449f65-8689-47e6-aa44-217172c0ae6b">Internal</SP_Classification>
    <d1539f7a0ecf4237b74565dbfbad77ff xmlns="65449f65-8689-47e6-aa44-217172c0ae6b">
      <Terms xmlns="http://schemas.microsoft.com/office/infopath/2007/PartnerControls">
        <TermInfo xmlns="http://schemas.microsoft.com/office/infopath/2007/PartnerControls">
          <TermName xmlns="http://schemas.microsoft.com/office/infopath/2007/PartnerControls">SIDN Labs</TermName>
          <TermId xmlns="http://schemas.microsoft.com/office/infopath/2007/PartnerControls">7a412665-22e5-4215-b5e9-dd422026c6d0</TermId>
        </TermInfo>
      </Terms>
    </d1539f7a0ecf4237b74565dbfbad77ff>
    <SP_Author xmlns="65449f65-8689-47e6-aa44-217172c0ae6b">
      <UserInfo>
        <DisplayName/>
        <AccountId xsi:nil="true"/>
        <AccountType/>
      </UserInfo>
    </SP_Author>
    <SP_Year xmlns="65449f65-8689-47e6-aa44-217172c0ae6b" xsi:nil="true"/>
    <SP_Contact xmlns="65449f65-8689-47e6-aa44-217172c0ae6b">
      <UserInfo>
        <DisplayName/>
        <AccountId xsi:nil="true"/>
        <AccountType/>
      </UserInfo>
    </SP_Contact>
    <p55e13f65d2843eeb598ac8370a853af xmlns="65449f65-8689-47e6-aa44-217172c0ae6b">
      <Terms xmlns="http://schemas.microsoft.com/office/infopath/2007/PartnerControls"/>
    </p55e13f65d2843eeb598ac8370a853af>
    <ce7db9954ccc4f5f8f407571f8063f07 xmlns="65449f65-8689-47e6-aa44-217172c0ae6b">
      <Terms xmlns="http://schemas.microsoft.com/office/infopath/2007/PartnerControls"/>
    </ce7db9954ccc4f5f8f407571f8063f07>
    <SP_ArchiveDate xmlns="65449f65-8689-47e6-aa44-217172c0ae6b" xsi:nil="true"/>
    <k4d260258d7849f5a9589900e59b5239 xmlns="65449f65-8689-47e6-aa44-217172c0ae6b">
      <Terms xmlns="http://schemas.microsoft.com/office/infopath/2007/PartnerControls"/>
    </k4d260258d7849f5a9589900e59b5239>
    <SP_Quarter xmlns="65449f65-8689-47e6-aa44-217172c0ae6b" xsi:nil="true"/>
  </documentManagement>
</p:properties>
</file>

<file path=customXml/itemProps1.xml><?xml version="1.0" encoding="utf-8"?>
<ds:datastoreItem xmlns:ds="http://schemas.openxmlformats.org/officeDocument/2006/customXml" ds:itemID="{8333F542-249B-4C4B-A846-62310C7251FB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CE372FAE-FD74-440F-B3DA-338B07BF3B3D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65449f65-8689-47e6-aa44-217172c0ae6b"/>
  </ds:schemaRefs>
</ds:datastoreItem>
</file>

<file path=customXml/itemProps3.xml><?xml version="1.0" encoding="utf-8"?>
<ds:datastoreItem xmlns:ds="http://schemas.openxmlformats.org/officeDocument/2006/customXml" ds:itemID="{6F09B4F6-6EEB-4291-9A98-93A305B143D0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6EE16AD1-5E1C-4946-A735-B5D78B1529D0}">
  <ds:schemaRefs>
    <ds:schemaRef ds:uri="http://schemas.microsoft.com/office/2006/metadata/customXsn"/>
  </ds:schemaRefs>
</ds:datastoreItem>
</file>

<file path=customXml/itemProps5.xml><?xml version="1.0" encoding="utf-8"?>
<ds:datastoreItem xmlns:ds="http://schemas.openxmlformats.org/officeDocument/2006/customXml" ds:itemID="{E00887D4-DC4C-4BF9-8693-843FFDEB01BD}">
  <ds:schemaRefs>
    <ds:schemaRef ds:uri="http://schemas.microsoft.com/office/2006/metadata/properties"/>
    <ds:schemaRef ds:uri="http://www.w3.org/2000/xmlns/"/>
    <ds:schemaRef ds:uri="65449f65-8689-47e6-aa44-217172c0ae6b"/>
    <ds:schemaRef ds:uri="http://schemas.microsoft.com/office/infopath/2007/PartnerControls"/>
    <ds:schemaRef ds:uri="http://www.w3.org/2001/XMLSchema-instan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87</TotalTime>
  <Words>982</Words>
  <Application>Microsoft Office PowerPoint</Application>
  <PresentationFormat>Breedbeeld</PresentationFormat>
  <Paragraphs>258</Paragraphs>
  <Slides>19</Slides>
  <Notes>15</Notes>
  <HiddenSlides>0</HiddenSlides>
  <MMClips>0</MMClips>
  <ScaleCrop>false</ScaleCrop>
  <HeadingPairs>
    <vt:vector size="4" baseType="variant">
      <vt:variant>
        <vt:lpstr>Thema</vt:lpstr>
      </vt:variant>
      <vt:variant>
        <vt:i4>1</vt:i4>
      </vt:variant>
      <vt:variant>
        <vt:lpstr>Diatitels</vt:lpstr>
      </vt:variant>
      <vt:variant>
        <vt:i4>19</vt:i4>
      </vt:variant>
    </vt:vector>
  </HeadingPairs>
  <TitlesOfParts>
    <vt:vector size="20" baseType="lpstr">
      <vt:lpstr>blank</vt:lpstr>
      <vt:lpstr>Deleting your domain? Preventing data leaks at TLD scale</vt:lpstr>
      <vt:lpstr>The (old) Problem </vt:lpstr>
      <vt:lpstr>Goal</vt:lpstr>
      <vt:lpstr>Domain Life Cycle</vt:lpstr>
      <vt:lpstr>LEMMINGS </vt:lpstr>
      <vt:lpstr>Data Sources</vt:lpstr>
      <vt:lpstr>Privacy Considerations</vt:lpstr>
      <vt:lpstr>System Process</vt:lpstr>
      <vt:lpstr>Filters</vt:lpstr>
      <vt:lpstr> Alerts Rules</vt:lpstr>
      <vt:lpstr> Alert Message</vt:lpstr>
      <vt:lpstr>Alerts sent</vt:lpstr>
      <vt:lpstr>MX Query Filters</vt:lpstr>
      <vt:lpstr>How Effective is LEMMINGS?</vt:lpstr>
      <vt:lpstr>Registrant Survey (1)</vt:lpstr>
      <vt:lpstr>Registrant  Survey (2)</vt:lpstr>
      <vt:lpstr>Future Work?</vt:lpstr>
      <vt:lpstr>Conclusion</vt:lpstr>
      <vt:lpstr>Questions?</vt:lpstr>
    </vt:vector>
  </TitlesOfParts>
  <Manager/>
  <Company>SID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NS OARC 41</dc:title>
  <dc:subject/>
  <dc:creator>Maarten Wullink</dc:creator>
  <cp:keywords/>
  <dc:description/>
  <cp:lastModifiedBy>Maarten Wullink</cp:lastModifiedBy>
  <cp:revision>143</cp:revision>
  <cp:lastPrinted>2020-09-02T13:48:21Z</cp:lastPrinted>
  <dcterms:created xsi:type="dcterms:W3CDTF">2016-03-01T11:48:30Z</dcterms:created>
  <dcterms:modified xsi:type="dcterms:W3CDTF">2023-09-05T05:05:5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1DD06E28B3584FBFA3C34DC116C1800C0026BF656F925F8C4791DB1EC2F5B6247D</vt:lpwstr>
  </property>
  <property fmtid="{D5CDD505-2E9C-101B-9397-08002B2CF9AE}" pid="3" name="SP_InfoOwner">
    <vt:lpwstr>2;#SIDN Labs|e8c5efe7-93dc-4592-8bc3-567adef5194b</vt:lpwstr>
  </property>
  <property fmtid="{D5CDD505-2E9C-101B-9397-08002B2CF9AE}" pid="4" name="SP_ArchiveAfter">
    <vt:lpwstr/>
  </property>
  <property fmtid="{D5CDD505-2E9C-101B-9397-08002B2CF9AE}" pid="5" name="SP_ArchiveGroup">
    <vt:lpwstr/>
  </property>
  <property fmtid="{D5CDD505-2E9C-101B-9397-08002B2CF9AE}" pid="6" name="SP_DocumentType">
    <vt:lpwstr/>
  </property>
  <property fmtid="{D5CDD505-2E9C-101B-9397-08002B2CF9AE}" pid="7" name="Team">
    <vt:lpwstr>3;#SIDN Labs|7a412665-22e5-4215-b5e9-dd422026c6d0</vt:lpwstr>
  </property>
  <property fmtid="{D5CDD505-2E9C-101B-9397-08002B2CF9AE}" pid="8" name="SP_Searchtags">
    <vt:lpwstr/>
  </property>
  <property fmtid="{D5CDD505-2E9C-101B-9397-08002B2CF9AE}" pid="9" name="SP_InfoCategory">
    <vt:lpwstr/>
  </property>
  <property fmtid="{D5CDD505-2E9C-101B-9397-08002B2CF9AE}" pid="10" name="WorkflowChangePath">
    <vt:lpwstr>25b84451-057b-45da-8a06-ced90e26a2bf,4;</vt:lpwstr>
  </property>
  <property fmtid="{D5CDD505-2E9C-101B-9397-08002B2CF9AE}" pid="11" name="MediaServiceImageTags">
    <vt:lpwstr/>
  </property>
  <property fmtid="{D5CDD505-2E9C-101B-9397-08002B2CF9AE}" pid="12" name="lcf76f155ced4ddcb4097134ff3c332f">
    <vt:lpwstr/>
  </property>
</Properties>
</file>